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9"/>
  </p:notesMasterIdLst>
  <p:sldIdLst>
    <p:sldId id="2597" r:id="rId2"/>
    <p:sldId id="257" r:id="rId3"/>
    <p:sldId id="2614" r:id="rId4"/>
    <p:sldId id="2683" r:id="rId5"/>
    <p:sldId id="2615" r:id="rId6"/>
    <p:sldId id="2616" r:id="rId7"/>
    <p:sldId id="2668" r:id="rId8"/>
    <p:sldId id="2618" r:id="rId9"/>
    <p:sldId id="2684" r:id="rId10"/>
    <p:sldId id="2685" r:id="rId11"/>
    <p:sldId id="2686" r:id="rId12"/>
    <p:sldId id="2687" r:id="rId13"/>
    <p:sldId id="2669" r:id="rId14"/>
    <p:sldId id="2688" r:id="rId15"/>
    <p:sldId id="2672" r:id="rId16"/>
    <p:sldId id="2689" r:id="rId17"/>
    <p:sldId id="269" r:id="rId18"/>
  </p:sldIdLst>
  <p:sldSz cx="12192000" cy="6858000"/>
  <p:notesSz cx="6858000" cy="9144000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folien" id="{3E6C9EF1-D882-4C55-A08F-244A762B696A}">
          <p14:sldIdLst>
            <p14:sldId id="2597"/>
          </p14:sldIdLst>
        </p14:section>
        <p14:section name="Textfolien" id="{32261FCD-A1CF-421E-AAD7-61F8B72BFF9D}">
          <p14:sldIdLst>
            <p14:sldId id="257"/>
            <p14:sldId id="2614"/>
            <p14:sldId id="2683"/>
            <p14:sldId id="2615"/>
            <p14:sldId id="2616"/>
            <p14:sldId id="2668"/>
            <p14:sldId id="2618"/>
            <p14:sldId id="2684"/>
            <p14:sldId id="2685"/>
            <p14:sldId id="2686"/>
            <p14:sldId id="2687"/>
            <p14:sldId id="2669"/>
            <p14:sldId id="2688"/>
            <p14:sldId id="2672"/>
            <p14:sldId id="2689"/>
            <p14:sldId id="269"/>
          </p14:sldIdLst>
        </p14:section>
        <p14:section name="Schlussfolien" id="{70B6E138-C28E-4A5D-AAB7-7C10B7242A6D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B493C24-686E-EC92-F83C-E140F7CA7702}" name="Sofia Hilt" initials="SH" userId="S::sofia.hilt@uni-a.de::5380e503-3859-480a-a345-c1539a4571d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irgit Reß" initials="BR" lastIdx="2" clrIdx="0">
    <p:extLst>
      <p:ext uri="{19B8F6BF-5375-455C-9EA6-DF929625EA0E}">
        <p15:presenceInfo xmlns:p15="http://schemas.microsoft.com/office/powerpoint/2012/main" userId="S::birgit.ress@uni-a.de::3d2d47bf-c8fe-4cf3-bff2-bfb18177d4d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D007C"/>
    <a:srgbClr val="80C535"/>
    <a:srgbClr val="E7B457"/>
    <a:srgbClr val="47DAF7"/>
    <a:srgbClr val="B1B50B"/>
    <a:srgbClr val="9A9A16"/>
    <a:srgbClr val="59A798"/>
    <a:srgbClr val="969696"/>
    <a:srgbClr val="C8C8C8"/>
    <a:srgbClr val="50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664" autoAdjust="0"/>
    <p:restoredTop sz="94243" autoAdjust="0"/>
  </p:normalViewPr>
  <p:slideViewPr>
    <p:cSldViewPr snapToGrid="0">
      <p:cViewPr varScale="1">
        <p:scale>
          <a:sx n="116" d="100"/>
          <a:sy n="116" d="100"/>
        </p:scale>
        <p:origin x="126" y="180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8/10/relationships/authors" Target="authors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9.xml"/><Relationship Id="rId13" Type="http://schemas.openxmlformats.org/officeDocument/2006/relationships/slide" Target="slides/slide14.xml"/><Relationship Id="rId3" Type="http://schemas.openxmlformats.org/officeDocument/2006/relationships/slide" Target="slides/slide4.xml"/><Relationship Id="rId7" Type="http://schemas.openxmlformats.org/officeDocument/2006/relationships/slide" Target="slides/slide8.xml"/><Relationship Id="rId12" Type="http://schemas.openxmlformats.org/officeDocument/2006/relationships/slide" Target="slides/slide13.xml"/><Relationship Id="rId2" Type="http://schemas.openxmlformats.org/officeDocument/2006/relationships/slide" Target="slides/slide3.xml"/><Relationship Id="rId1" Type="http://schemas.openxmlformats.org/officeDocument/2006/relationships/slide" Target="slides/slide1.xml"/><Relationship Id="rId6" Type="http://schemas.openxmlformats.org/officeDocument/2006/relationships/slide" Target="slides/slide7.xml"/><Relationship Id="rId11" Type="http://schemas.openxmlformats.org/officeDocument/2006/relationships/slide" Target="slides/slide12.xml"/><Relationship Id="rId5" Type="http://schemas.openxmlformats.org/officeDocument/2006/relationships/slide" Target="slides/slide6.xml"/><Relationship Id="rId15" Type="http://schemas.openxmlformats.org/officeDocument/2006/relationships/slide" Target="slides/slide16.xml"/><Relationship Id="rId10" Type="http://schemas.openxmlformats.org/officeDocument/2006/relationships/slide" Target="slides/slide11.xml"/><Relationship Id="rId4" Type="http://schemas.openxmlformats.org/officeDocument/2006/relationships/slide" Target="slides/slide5.xml"/><Relationship Id="rId9" Type="http://schemas.openxmlformats.org/officeDocument/2006/relationships/slide" Target="slides/slide10.xml"/><Relationship Id="rId14" Type="http://schemas.openxmlformats.org/officeDocument/2006/relationships/slide" Target="slides/slide1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24.03.202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2581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55347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92602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800" dirty="0">
                <a:effectLst/>
                <a:latin typeface="Segoe UI" panose="020B0502040204020203" pitchFamily="34" charset="0"/>
              </a:rPr>
              <a:t>EU-Bürger (+ Schweiz, Norwegen, Irland, Liechtenstein)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unbefristete Aufenthaltserlaubnis (§ 7a AufenthG/EWG) oder Daueraufenthaltserlaubnis (§ 5 Abs. 5 </a:t>
            </a:r>
            <a:r>
              <a:rPr lang="de-DE" sz="1800" dirty="0" err="1">
                <a:effectLst/>
                <a:latin typeface="Segoe UI" panose="020B0502040204020203" pitchFamily="34" charset="0"/>
              </a:rPr>
              <a:t>FreizügG</a:t>
            </a:r>
            <a:r>
              <a:rPr lang="de-DE" sz="1800" dirty="0">
                <a:effectLst/>
                <a:latin typeface="Segoe UI" panose="020B0502040204020203" pitchFamily="34" charset="0"/>
              </a:rPr>
              <a:t>/EU).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als Arbeitnehmer freizügigkeitsberechtigt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verheiratet mit EU-Bürger (selbständig, arbeitssuchend, Ausbildung)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ein Elternteil ist EU-Bürger (selbständig, arbeitssuchend, Ausbildung)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Erwerbstätigkeit in Deutschland vor dem Studium (thematischer Bezug!)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50750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75043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50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1D252A2-F584-4876-A9E7-3A56CDE1456F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12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409322-67A6-4F12-8D72-41A3B5B662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7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42447BE-7F68-43E3-BEF7-C04C0F292080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709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 2/3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33444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C391855-DEE4-4776-816F-9FDFE9169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23800" y="1674000"/>
            <a:ext cx="7048800" cy="4644000"/>
          </a:xfrm>
          <a:custGeom>
            <a:avLst/>
            <a:gdLst>
              <a:gd name="connsiteX0" fmla="*/ 0 w 7048800"/>
              <a:gd name="connsiteY0" fmla="*/ 0 h 4644000"/>
              <a:gd name="connsiteX1" fmla="*/ 7048800 w 7048800"/>
              <a:gd name="connsiteY1" fmla="*/ 0 h 4644000"/>
              <a:gd name="connsiteX2" fmla="*/ 7048800 w 7048800"/>
              <a:gd name="connsiteY2" fmla="*/ 4326749 h 4644000"/>
              <a:gd name="connsiteX3" fmla="*/ 6541092 w 7048800"/>
              <a:gd name="connsiteY3" fmla="*/ 4644000 h 4644000"/>
              <a:gd name="connsiteX4" fmla="*/ 0 w 7048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800" h="4644000">
                <a:moveTo>
                  <a:pt x="0" y="0"/>
                </a:moveTo>
                <a:lnTo>
                  <a:pt x="7048800" y="0"/>
                </a:lnTo>
                <a:lnTo>
                  <a:pt x="7048800" y="4326749"/>
                </a:lnTo>
                <a:lnTo>
                  <a:pt x="6541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29A14761-D380-48F1-9D44-45AF488797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97DD6B2-6BB6-4B54-8072-153E6ED7B9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859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D5E979-B6F3-499F-86AC-9DA560B943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8" y="1674000"/>
            <a:ext cx="5196001" cy="4644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178660-43D6-417E-A41D-8A651FD3ED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77E495-745A-4917-9709-76F024A90B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D2E99-9111-4AFA-AFB3-76CD71D81F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FC171BC-79AF-42BF-84CB-39D216F6E301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18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107531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501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grammplatzhalter 2">
            <a:extLst>
              <a:ext uri="{FF2B5EF4-FFF2-40B4-BE49-F238E27FC236}">
                <a16:creationId xmlns:a16="http://schemas.microsoft.com/office/drawing/2014/main" id="{40153406-C06B-40E8-99C7-229D0C6B031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75400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330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270BA7FE-E827-4D39-A048-D4CF86BD7DF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65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99C89F3-D97E-408C-A5DF-94B7F7F3405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199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DBCAED4-2F76-438B-B283-1C960E7CC97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65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72315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>
            <a:lvl2pPr marL="216000"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1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465D2CE-6830-4297-983E-F7B43985B9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1A0135-E140-476E-AC43-792A657BCC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C46EB0-769F-4170-83B7-93D805106DF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706C54-FF6D-4951-8C8B-40E294A9C4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CF9F49-EFAD-4ACD-99F6-79A884BC2C0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903F8E2B-6617-4DB7-991D-50B6D59596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902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685901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E52A4B2-180F-4635-9822-27508ECE4C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113E644-52D1-4A9A-821D-0ECCD9B110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5200" y="1674000"/>
            <a:ext cx="2507400" cy="4644000"/>
          </a:xfrm>
          <a:custGeom>
            <a:avLst/>
            <a:gdLst>
              <a:gd name="connsiteX0" fmla="*/ 0 w 2507400"/>
              <a:gd name="connsiteY0" fmla="*/ 0 h 4644000"/>
              <a:gd name="connsiteX1" fmla="*/ 2507400 w 2507400"/>
              <a:gd name="connsiteY1" fmla="*/ 0 h 4644000"/>
              <a:gd name="connsiteX2" fmla="*/ 2507400 w 2507400"/>
              <a:gd name="connsiteY2" fmla="*/ 4326749 h 4644000"/>
              <a:gd name="connsiteX3" fmla="*/ 1999692 w 2507400"/>
              <a:gd name="connsiteY3" fmla="*/ 4644000 h 4644000"/>
              <a:gd name="connsiteX4" fmla="*/ 0 w 25074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400" h="4644000">
                <a:moveTo>
                  <a:pt x="0" y="0"/>
                </a:moveTo>
                <a:lnTo>
                  <a:pt x="2507400" y="0"/>
                </a:lnTo>
                <a:lnTo>
                  <a:pt x="2507400" y="4326749"/>
                </a:lnTo>
                <a:lnTo>
                  <a:pt x="19996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EA2C7DF6-8FA2-4912-8FF1-99CC9F4CBE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7800" y="4086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55965-1525-4E18-8617-459E33E24C0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3B74A0-6721-4460-9913-76B468D90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6D6DB4-5088-4985-8544-351706B141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EFBBC7C-F6A5-4ED9-9C3D-5FC6ABA5562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24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BB234F7-230F-4A75-81B8-34F8EDC64F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9C55D38B-F3F0-43B2-B18E-7740F748B16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652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2165AC-262C-4D41-9BBC-CEF1D222E5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C9CED4-1736-4B5F-9946-F16664B3DBC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743DCAA-570D-4D10-B77D-08C69D75AE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A81D4EE-867E-46FB-9F0B-6CF938274F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355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4F5D212-7704-477C-BD10-3A0738406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5554" y="1673999"/>
            <a:ext cx="2760453" cy="3312069"/>
          </a:xfrm>
          <a:solidFill>
            <a:schemeClr val="tx2">
              <a:alpha val="90000"/>
            </a:schemeClr>
          </a:solidFill>
        </p:spPr>
        <p:txBody>
          <a:bodyPr lIns="144000" tIns="144000" rIns="144000" bIns="144000"/>
          <a:lstStyle>
            <a:lvl1pPr>
              <a:defRPr sz="140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Clr>
                <a:schemeClr val="bg1"/>
              </a:buClr>
              <a:buNone/>
              <a:defRPr sz="10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FA84C09-E8D0-422A-8A0E-45EB49C1D259}"/>
              </a:ext>
            </a:extLst>
          </p:cNvPr>
          <p:cNvSpPr>
            <a:spLocks noGrp="1"/>
          </p:cNvSpPr>
          <p:nvPr>
            <p:ph type="subTitle" idx="19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3FDBBD4-A883-4636-B808-7CFF5AFDF03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846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58D452D6-202E-455D-8B61-543261859A4B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D26D293-9DBC-44A3-B743-50F9610A78E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757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und 1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923280-06D4-4B6C-8212-53AA23678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9999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6816FC29-1284-4663-9755-B91A86845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6000" y="1673999"/>
            <a:ext cx="5286000" cy="2231289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BF2352AF-07ED-4DD6-AD34-CD15BCEF63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53000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88937A17-6BFE-4447-9A70-9A79325025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999" y="4085290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1C03AA34-9E4A-4CE3-AC7C-F75EA79E7C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19499" y="4085291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C2F2BAE-909F-472D-BE4F-96A79DA05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9000" y="4085291"/>
            <a:ext cx="2552999" cy="2231291"/>
          </a:xfrm>
          <a:custGeom>
            <a:avLst/>
            <a:gdLst>
              <a:gd name="connsiteX0" fmla="*/ 0 w 2552999"/>
              <a:gd name="connsiteY0" fmla="*/ 0 h 2231291"/>
              <a:gd name="connsiteX1" fmla="*/ 2552999 w 2552999"/>
              <a:gd name="connsiteY1" fmla="*/ 0 h 2231291"/>
              <a:gd name="connsiteX2" fmla="*/ 2552999 w 2552999"/>
              <a:gd name="connsiteY2" fmla="*/ 1915834 h 2231291"/>
              <a:gd name="connsiteX3" fmla="*/ 2048161 w 2552999"/>
              <a:gd name="connsiteY3" fmla="*/ 2231291 h 2231291"/>
              <a:gd name="connsiteX4" fmla="*/ 0 w 2552999"/>
              <a:gd name="connsiteY4" fmla="*/ 2231291 h 223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999" h="2231291">
                <a:moveTo>
                  <a:pt x="0" y="0"/>
                </a:moveTo>
                <a:lnTo>
                  <a:pt x="2552999" y="0"/>
                </a:lnTo>
                <a:lnTo>
                  <a:pt x="2552999" y="1915834"/>
                </a:lnTo>
                <a:lnTo>
                  <a:pt x="2048161" y="2231291"/>
                </a:lnTo>
                <a:lnTo>
                  <a:pt x="0" y="223129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93ABC32-9FE8-459D-ACCB-102523772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7E0EAD-D6B1-4816-B378-23892E83F8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D2D387-3FB6-4B0C-98E8-123EED79A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E2EB323-5D4B-44C9-8093-B68CFD3AF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2F490B95-624C-4C01-B8CF-324AF2796124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1EA23CB-DE6D-4F22-B14C-D08F0E16F2A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083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9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532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7FD20DB8-649F-4F75-BDA2-47C449040C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5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2AE0353-0383-4E9B-84C9-6E8C1C24B1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9899" y="4086000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5 h 2232000"/>
              <a:gd name="connsiteX3" fmla="*/ 2044993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5"/>
                </a:lnTo>
                <a:lnTo>
                  <a:pt x="2044993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32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98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4C7506-1301-49C0-9C41-04D95085C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56F48A-94B2-4E68-8433-3D86488F261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230BD-CD3E-4D54-BA85-1FA6F5CCC1E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105B9E-F57E-42DF-A0F2-61A5FEC545C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CD1921EF-845A-4B83-94D5-07A0CE8FDCE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DCA848E7-92BD-42A2-8DB5-48C272EDDD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607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9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532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FF9C62C6-AB76-491F-A58B-062EF89911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65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0064942-68BC-4E81-8583-6A45809713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19899" y="4085999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6 h 2232000"/>
              <a:gd name="connsiteX3" fmla="*/ 2044994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6"/>
                </a:lnTo>
                <a:lnTo>
                  <a:pt x="2044994" y="2232000"/>
                </a:lnTo>
                <a:lnTo>
                  <a:pt x="0" y="2232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65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214A44-AF01-4C18-A48A-D60FB248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DBD298-EEC0-4FCE-AD3E-E0A71133EC0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31DBC6-4D2A-496E-902B-EFD874699C5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EB8BD6-E622-4B45-A236-19BF5A5D18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0863C9F9-60AE-4E82-86B7-ECB092C2DC9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D178B3D-67C8-474D-B36E-39BB736852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050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s unten Bild">
            <a:extLst>
              <a:ext uri="{FF2B5EF4-FFF2-40B4-BE49-F238E27FC236}">
                <a16:creationId xmlns:a16="http://schemas.microsoft.com/office/drawing/2014/main" id="{CD5FA5D3-D717-492A-A9A5-AAD003D3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903" y="2347394"/>
            <a:ext cx="6354297" cy="3970606"/>
          </a:xfrm>
          <a:custGeom>
            <a:avLst/>
            <a:gdLst>
              <a:gd name="connsiteX0" fmla="*/ 6354297 w 6354297"/>
              <a:gd name="connsiteY0" fmla="*/ 0 h 3970606"/>
              <a:gd name="connsiteX1" fmla="*/ 6354297 w 6354297"/>
              <a:gd name="connsiteY1" fmla="*/ 3652981 h 3970606"/>
              <a:gd name="connsiteX2" fmla="*/ 5845990 w 6354297"/>
              <a:gd name="connsiteY2" fmla="*/ 3970606 h 3970606"/>
              <a:gd name="connsiteX3" fmla="*/ 0 w 6354297"/>
              <a:gd name="connsiteY3" fmla="*/ 3970606 h 397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54297" h="3970606">
                <a:moveTo>
                  <a:pt x="6354297" y="0"/>
                </a:moveTo>
                <a:lnTo>
                  <a:pt x="6354297" y="3652981"/>
                </a:lnTo>
                <a:lnTo>
                  <a:pt x="5845990" y="3970606"/>
                </a:lnTo>
                <a:lnTo>
                  <a:pt x="0" y="397060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0" name="rechts oben Bild">
            <a:extLst>
              <a:ext uri="{FF2B5EF4-FFF2-40B4-BE49-F238E27FC236}">
                <a16:creationId xmlns:a16="http://schemas.microsoft.com/office/drawing/2014/main" id="{6DFA7518-1C80-4796-BE44-D8184948C5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5202" y="1674000"/>
            <a:ext cx="4117998" cy="2182262"/>
          </a:xfrm>
          <a:custGeom>
            <a:avLst/>
            <a:gdLst>
              <a:gd name="connsiteX0" fmla="*/ 0 w 4117998"/>
              <a:gd name="connsiteY0" fmla="*/ 0 h 2182262"/>
              <a:gd name="connsiteX1" fmla="*/ 4117998 w 4117998"/>
              <a:gd name="connsiteY1" fmla="*/ 0 h 2182262"/>
              <a:gd name="connsiteX2" fmla="*/ 4117998 w 4117998"/>
              <a:gd name="connsiteY2" fmla="*/ 461141 h 2182262"/>
              <a:gd name="connsiteX3" fmla="*/ 1363628 w 4117998"/>
              <a:gd name="connsiteY3" fmla="*/ 2182262 h 218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7998" h="2182262">
                <a:moveTo>
                  <a:pt x="0" y="0"/>
                </a:moveTo>
                <a:lnTo>
                  <a:pt x="4117998" y="0"/>
                </a:lnTo>
                <a:lnTo>
                  <a:pt x="4117998" y="461141"/>
                </a:lnTo>
                <a:lnTo>
                  <a:pt x="1363628" y="218226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2" name="links großes Bild">
            <a:extLst>
              <a:ext uri="{FF2B5EF4-FFF2-40B4-BE49-F238E27FC236}">
                <a16:creationId xmlns:a16="http://schemas.microsoft.com/office/drawing/2014/main" id="{3250A4B0-2BD5-4E55-807B-8FC0F34662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000" y="1674000"/>
            <a:ext cx="7846181" cy="4644000"/>
          </a:xfrm>
          <a:custGeom>
            <a:avLst/>
            <a:gdLst>
              <a:gd name="connsiteX0" fmla="*/ 0 w 7846181"/>
              <a:gd name="connsiteY0" fmla="*/ 0 h 4644000"/>
              <a:gd name="connsiteX1" fmla="*/ 6422949 w 7846181"/>
              <a:gd name="connsiteY1" fmla="*/ 0 h 4644000"/>
              <a:gd name="connsiteX2" fmla="*/ 7846181 w 7846181"/>
              <a:gd name="connsiteY2" fmla="*/ 2277649 h 4644000"/>
              <a:gd name="connsiteX3" fmla="*/ 4059228 w 7846181"/>
              <a:gd name="connsiteY3" fmla="*/ 4644000 h 4644000"/>
              <a:gd name="connsiteX4" fmla="*/ 0 w 7846181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6181" h="4644000">
                <a:moveTo>
                  <a:pt x="0" y="0"/>
                </a:moveTo>
                <a:lnTo>
                  <a:pt x="6422949" y="0"/>
                </a:lnTo>
                <a:lnTo>
                  <a:pt x="7846181" y="2277649"/>
                </a:lnTo>
                <a:lnTo>
                  <a:pt x="4059228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826DC0-7673-4091-B8DF-1F0BF64D563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67E07C-4EF5-43E9-9B7B-40CF109326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583426-CEAE-4105-B68D-3BC46AA145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1B9E229-2EFA-41C6-8438-B43B0B52060A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169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CD9A9D8-D8C6-4003-B9E8-BD62D25DD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2000 w 12192000"/>
              <a:gd name="connsiteY3" fmla="*/ 6542543 h 6858000"/>
              <a:gd name="connsiteX4" fmla="*/ 11687162 w 12192000"/>
              <a:gd name="connsiteY4" fmla="*/ 6858000 h 6858000"/>
              <a:gd name="connsiteX5" fmla="*/ 1135092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2000" y="6542543"/>
                </a:lnTo>
                <a:lnTo>
                  <a:pt x="11687162" y="6858000"/>
                </a:lnTo>
                <a:lnTo>
                  <a:pt x="113509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746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41C75F-ABCF-4120-9997-79E41E476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72138" y="3635125"/>
            <a:ext cx="3700462" cy="2682875"/>
          </a:xfrm>
          <a:custGeom>
            <a:avLst/>
            <a:gdLst>
              <a:gd name="connsiteX0" fmla="*/ 0 w 3700462"/>
              <a:gd name="connsiteY0" fmla="*/ 0 h 2682875"/>
              <a:gd name="connsiteX1" fmla="*/ 3700462 w 3700462"/>
              <a:gd name="connsiteY1" fmla="*/ 0 h 2682875"/>
              <a:gd name="connsiteX2" fmla="*/ 3700462 w 3700462"/>
              <a:gd name="connsiteY2" fmla="*/ 2365624 h 2682875"/>
              <a:gd name="connsiteX3" fmla="*/ 3192754 w 3700462"/>
              <a:gd name="connsiteY3" fmla="*/ 2682875 h 2682875"/>
              <a:gd name="connsiteX4" fmla="*/ 0 w 3700462"/>
              <a:gd name="connsiteY4" fmla="*/ 2682875 h 268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0462" h="2682875">
                <a:moveTo>
                  <a:pt x="0" y="0"/>
                </a:moveTo>
                <a:lnTo>
                  <a:pt x="3700462" y="0"/>
                </a:lnTo>
                <a:lnTo>
                  <a:pt x="3700462" y="2365624"/>
                </a:lnTo>
                <a:lnTo>
                  <a:pt x="3192754" y="2682875"/>
                </a:lnTo>
                <a:lnTo>
                  <a:pt x="0" y="2682875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44000" tIns="216000" rIns="144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97497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Zitat farbig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B88B8D8-3758-4D29-BFC4-10E8CA86532D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1999 w 12192000"/>
              <a:gd name="connsiteY3" fmla="*/ 6016924 h 6858000"/>
              <a:gd name="connsiteX4" fmla="*/ 12191999 w 12192000"/>
              <a:gd name="connsiteY4" fmla="*/ 6542543 h 6858000"/>
              <a:gd name="connsiteX5" fmla="*/ 11687161 w 12192000"/>
              <a:gd name="connsiteY5" fmla="*/ 6858000 h 6858000"/>
              <a:gd name="connsiteX6" fmla="*/ 11350922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1999" y="6016924"/>
                </a:lnTo>
                <a:lnTo>
                  <a:pt x="12191999" y="6542543"/>
                </a:lnTo>
                <a:lnTo>
                  <a:pt x="11687161" y="6858000"/>
                </a:lnTo>
                <a:lnTo>
                  <a:pt x="1135092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D7FE2-23D0-4E6B-BBBD-6ED33EF01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674688"/>
            <a:ext cx="7094537" cy="5508625"/>
          </a:xfrm>
        </p:spPr>
        <p:txBody>
          <a:bodyPr/>
          <a:lstStyle>
            <a:lvl1pPr>
              <a:defRPr sz="45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89842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363456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038655-7059-4575-A4F1-5B3CA3E24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60524" y="1854748"/>
            <a:ext cx="3531476" cy="3090041"/>
          </a:xfrm>
          <a:custGeom>
            <a:avLst/>
            <a:gdLst>
              <a:gd name="connsiteX0" fmla="*/ 0 w 3531476"/>
              <a:gd name="connsiteY0" fmla="*/ 0 h 3090041"/>
              <a:gd name="connsiteX1" fmla="*/ 3531476 w 3531476"/>
              <a:gd name="connsiteY1" fmla="*/ 0 h 3090041"/>
              <a:gd name="connsiteX2" fmla="*/ 3531476 w 3531476"/>
              <a:gd name="connsiteY2" fmla="*/ 2779106 h 3090041"/>
              <a:gd name="connsiteX3" fmla="*/ 3033876 w 3531476"/>
              <a:gd name="connsiteY3" fmla="*/ 3090041 h 3090041"/>
              <a:gd name="connsiteX4" fmla="*/ 0 w 3531476"/>
              <a:gd name="connsiteY4" fmla="*/ 3090041 h 309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090041">
                <a:moveTo>
                  <a:pt x="0" y="0"/>
                </a:moveTo>
                <a:lnTo>
                  <a:pt x="3531476" y="0"/>
                </a:lnTo>
                <a:lnTo>
                  <a:pt x="3531476" y="2779106"/>
                </a:lnTo>
                <a:lnTo>
                  <a:pt x="3033876" y="3090041"/>
                </a:lnTo>
                <a:lnTo>
                  <a:pt x="0" y="30900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144000" bIns="360000">
            <a:noAutofit/>
          </a:bodyPr>
          <a:lstStyle>
            <a:lvl1pPr>
              <a:defRPr sz="2500" cap="all" baseline="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68F79D-CB6A-4403-9205-FF4BE5DB4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048" y="1854748"/>
            <a:ext cx="3531476" cy="3090041"/>
          </a:xfrm>
          <a:solidFill>
            <a:schemeClr val="tx2">
              <a:alpha val="50000"/>
            </a:schemeClr>
          </a:solidFill>
        </p:spPr>
        <p:txBody>
          <a:bodyPr lIns="0" tIns="0" rIns="0" bIns="432000" anchor="b"/>
          <a:lstStyle>
            <a:lvl1pPr marL="0" algn="ctr">
              <a:defRPr sz="18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7750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3A21B8E-DB9A-4C1E-A79D-3A75A7C683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38850" y="765175"/>
            <a:ext cx="5561013" cy="5324475"/>
          </a:xfrm>
          <a:custGeom>
            <a:avLst/>
            <a:gdLst>
              <a:gd name="connsiteX0" fmla="*/ 1513682 w 5561013"/>
              <a:gd name="connsiteY0" fmla="*/ 758515 h 5324475"/>
              <a:gd name="connsiteX1" fmla="*/ 1056580 w 5561013"/>
              <a:gd name="connsiteY1" fmla="*/ 2662238 h 5324475"/>
              <a:gd name="connsiteX2" fmla="*/ 1513682 w 5561013"/>
              <a:gd name="connsiteY2" fmla="*/ 4565961 h 5324475"/>
              <a:gd name="connsiteX3" fmla="*/ 1970784 w 5561013"/>
              <a:gd name="connsiteY3" fmla="*/ 2662238 h 5324475"/>
              <a:gd name="connsiteX4" fmla="*/ 1513682 w 5561013"/>
              <a:gd name="connsiteY4" fmla="*/ 758515 h 5324475"/>
              <a:gd name="connsiteX5" fmla="*/ 4556698 w 5561013"/>
              <a:gd name="connsiteY5" fmla="*/ 66675 h 5324475"/>
              <a:gd name="connsiteX6" fmla="*/ 5561013 w 5561013"/>
              <a:gd name="connsiteY6" fmla="*/ 66675 h 5324475"/>
              <a:gd name="connsiteX7" fmla="*/ 5561013 w 5561013"/>
              <a:gd name="connsiteY7" fmla="*/ 5257800 h 5324475"/>
              <a:gd name="connsiteX8" fmla="*/ 4429285 w 5561013"/>
              <a:gd name="connsiteY8" fmla="*/ 5257800 h 5324475"/>
              <a:gd name="connsiteX9" fmla="*/ 4429285 w 5561013"/>
              <a:gd name="connsiteY9" fmla="*/ 1264055 h 5324475"/>
              <a:gd name="connsiteX10" fmla="*/ 3544888 w 5561013"/>
              <a:gd name="connsiteY10" fmla="*/ 1844152 h 5324475"/>
              <a:gd name="connsiteX11" fmla="*/ 3544888 w 5561013"/>
              <a:gd name="connsiteY11" fmla="*/ 869886 h 5324475"/>
              <a:gd name="connsiteX12" fmla="*/ 4556698 w 5561013"/>
              <a:gd name="connsiteY12" fmla="*/ 66675 h 5324475"/>
              <a:gd name="connsiteX13" fmla="*/ 1513682 w 5561013"/>
              <a:gd name="connsiteY13" fmla="*/ 0 h 5324475"/>
              <a:gd name="connsiteX14" fmla="*/ 3027363 w 5561013"/>
              <a:gd name="connsiteY14" fmla="*/ 2647365 h 5324475"/>
              <a:gd name="connsiteX15" fmla="*/ 1513682 w 5561013"/>
              <a:gd name="connsiteY15" fmla="*/ 5324475 h 5324475"/>
              <a:gd name="connsiteX16" fmla="*/ 0 w 5561013"/>
              <a:gd name="connsiteY16" fmla="*/ 2647365 h 5324475"/>
              <a:gd name="connsiteX17" fmla="*/ 1513682 w 5561013"/>
              <a:gd name="connsiteY1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61013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556698" y="66675"/>
                </a:moveTo>
                <a:cubicBezTo>
                  <a:pt x="5561013" y="66675"/>
                  <a:pt x="5561013" y="66675"/>
                  <a:pt x="5561013" y="66675"/>
                </a:cubicBezTo>
                <a:cubicBezTo>
                  <a:pt x="5561013" y="5257800"/>
                  <a:pt x="5561013" y="5257800"/>
                  <a:pt x="5561013" y="5257800"/>
                </a:cubicBezTo>
                <a:cubicBezTo>
                  <a:pt x="4429285" y="5257800"/>
                  <a:pt x="4429285" y="5257800"/>
                  <a:pt x="4429285" y="5257800"/>
                </a:cubicBezTo>
                <a:cubicBezTo>
                  <a:pt x="4429285" y="1264055"/>
                  <a:pt x="4429285" y="1264055"/>
                  <a:pt x="4429285" y="1264055"/>
                </a:cubicBezTo>
                <a:cubicBezTo>
                  <a:pt x="4159469" y="1487169"/>
                  <a:pt x="3852178" y="1680535"/>
                  <a:pt x="3544888" y="1844152"/>
                </a:cubicBezTo>
                <a:lnTo>
                  <a:pt x="3544888" y="869886"/>
                </a:lnTo>
                <a:cubicBezTo>
                  <a:pt x="3919632" y="661647"/>
                  <a:pt x="4286882" y="416221"/>
                  <a:pt x="4556698" y="66675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92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FCFBDDB-1C1B-4C6C-B5A9-DF9D9A5050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0812" y="765175"/>
            <a:ext cx="6369050" cy="5324475"/>
          </a:xfrm>
          <a:custGeom>
            <a:avLst/>
            <a:gdLst>
              <a:gd name="connsiteX0" fmla="*/ 1513681 w 6369050"/>
              <a:gd name="connsiteY0" fmla="*/ 758515 h 5324475"/>
              <a:gd name="connsiteX1" fmla="*/ 1056579 w 6369050"/>
              <a:gd name="connsiteY1" fmla="*/ 2662238 h 5324475"/>
              <a:gd name="connsiteX2" fmla="*/ 1513681 w 6369050"/>
              <a:gd name="connsiteY2" fmla="*/ 4565961 h 5324475"/>
              <a:gd name="connsiteX3" fmla="*/ 1970783 w 6369050"/>
              <a:gd name="connsiteY3" fmla="*/ 2662238 h 5324475"/>
              <a:gd name="connsiteX4" fmla="*/ 1513681 w 6369050"/>
              <a:gd name="connsiteY4" fmla="*/ 758515 h 5324475"/>
              <a:gd name="connsiteX5" fmla="*/ 4788092 w 6369050"/>
              <a:gd name="connsiteY5" fmla="*/ 0 h 5324475"/>
              <a:gd name="connsiteX6" fmla="*/ 6316601 w 6369050"/>
              <a:gd name="connsiteY6" fmla="*/ 1338620 h 5324475"/>
              <a:gd name="connsiteX7" fmla="*/ 4375994 w 6369050"/>
              <a:gd name="connsiteY7" fmla="*/ 4454629 h 5324475"/>
              <a:gd name="connsiteX8" fmla="*/ 6369050 w 6369050"/>
              <a:gd name="connsiteY8" fmla="*/ 4454629 h 5324475"/>
              <a:gd name="connsiteX9" fmla="*/ 6369050 w 6369050"/>
              <a:gd name="connsiteY9" fmla="*/ 5257800 h 5324475"/>
              <a:gd name="connsiteX10" fmla="*/ 3267075 w 6369050"/>
              <a:gd name="connsiteY10" fmla="*/ 5257800 h 5324475"/>
              <a:gd name="connsiteX11" fmla="*/ 3267075 w 6369050"/>
              <a:gd name="connsiteY11" fmla="*/ 4343077 h 5324475"/>
              <a:gd name="connsiteX12" fmla="*/ 5260131 w 6369050"/>
              <a:gd name="connsiteY12" fmla="*/ 1264252 h 5324475"/>
              <a:gd name="connsiteX13" fmla="*/ 4863019 w 6369050"/>
              <a:gd name="connsiteY13" fmla="*/ 758551 h 5324475"/>
              <a:gd name="connsiteX14" fmla="*/ 4405964 w 6369050"/>
              <a:gd name="connsiteY14" fmla="*/ 1502229 h 5324475"/>
              <a:gd name="connsiteX15" fmla="*/ 3349495 w 6369050"/>
              <a:gd name="connsiteY15" fmla="*/ 1502229 h 5324475"/>
              <a:gd name="connsiteX16" fmla="*/ 4788092 w 6369050"/>
              <a:gd name="connsiteY16" fmla="*/ 0 h 5324475"/>
              <a:gd name="connsiteX17" fmla="*/ 1513681 w 6369050"/>
              <a:gd name="connsiteY17" fmla="*/ 0 h 5324475"/>
              <a:gd name="connsiteX18" fmla="*/ 3027363 w 6369050"/>
              <a:gd name="connsiteY18" fmla="*/ 2647365 h 5324475"/>
              <a:gd name="connsiteX19" fmla="*/ 1513681 w 6369050"/>
              <a:gd name="connsiteY19" fmla="*/ 5324475 h 5324475"/>
              <a:gd name="connsiteX20" fmla="*/ 0 w 6369050"/>
              <a:gd name="connsiteY20" fmla="*/ 2647365 h 5324475"/>
              <a:gd name="connsiteX21" fmla="*/ 1513681 w 6369050"/>
              <a:gd name="connsiteY21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369050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90" y="758515"/>
                  <a:pt x="1513681" y="758515"/>
                </a:cubicBezTo>
                <a:close/>
                <a:moveTo>
                  <a:pt x="4788092" y="0"/>
                </a:moveTo>
                <a:cubicBezTo>
                  <a:pt x="5694707" y="0"/>
                  <a:pt x="6316601" y="364402"/>
                  <a:pt x="6316601" y="1338620"/>
                </a:cubicBezTo>
                <a:cubicBezTo>
                  <a:pt x="6316601" y="2506193"/>
                  <a:pt x="4945438" y="3829939"/>
                  <a:pt x="4375994" y="4454629"/>
                </a:cubicBezTo>
                <a:cubicBezTo>
                  <a:pt x="6369050" y="4454629"/>
                  <a:pt x="6369050" y="4454629"/>
                  <a:pt x="6369050" y="4454629"/>
                </a:cubicBezTo>
                <a:cubicBezTo>
                  <a:pt x="6369050" y="5257800"/>
                  <a:pt x="6369050" y="5257800"/>
                  <a:pt x="6369050" y="5257800"/>
                </a:cubicBezTo>
                <a:lnTo>
                  <a:pt x="3267075" y="5257800"/>
                </a:lnTo>
                <a:cubicBezTo>
                  <a:pt x="3267075" y="4343077"/>
                  <a:pt x="3267075" y="4343077"/>
                  <a:pt x="3267075" y="4343077"/>
                </a:cubicBezTo>
                <a:cubicBezTo>
                  <a:pt x="4915467" y="2164102"/>
                  <a:pt x="5260131" y="1911251"/>
                  <a:pt x="5260131" y="1264252"/>
                </a:cubicBezTo>
                <a:cubicBezTo>
                  <a:pt x="5260131" y="1003965"/>
                  <a:pt x="5162726" y="758551"/>
                  <a:pt x="4863019" y="758551"/>
                </a:cubicBezTo>
                <a:cubicBezTo>
                  <a:pt x="4428443" y="758551"/>
                  <a:pt x="4405964" y="1167574"/>
                  <a:pt x="4405964" y="1502229"/>
                </a:cubicBezTo>
                <a:cubicBezTo>
                  <a:pt x="3349495" y="1502229"/>
                  <a:pt x="3349495" y="1502229"/>
                  <a:pt x="3349495" y="1502229"/>
                </a:cubicBezTo>
                <a:cubicBezTo>
                  <a:pt x="3274568" y="535448"/>
                  <a:pt x="3821534" y="0"/>
                  <a:pt x="4788092" y="0"/>
                </a:cubicBezTo>
                <a:close/>
                <a:moveTo>
                  <a:pt x="1513681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884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4A7BACB7-0FFC-41F1-9652-1A1D53E188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5736" y="766763"/>
            <a:ext cx="6340475" cy="5324475"/>
          </a:xfrm>
          <a:custGeom>
            <a:avLst/>
            <a:gdLst>
              <a:gd name="connsiteX0" fmla="*/ 1513682 w 6340475"/>
              <a:gd name="connsiteY0" fmla="*/ 758515 h 5324475"/>
              <a:gd name="connsiteX1" fmla="*/ 1056580 w 6340475"/>
              <a:gd name="connsiteY1" fmla="*/ 2662238 h 5324475"/>
              <a:gd name="connsiteX2" fmla="*/ 1513682 w 6340475"/>
              <a:gd name="connsiteY2" fmla="*/ 4565961 h 5324475"/>
              <a:gd name="connsiteX3" fmla="*/ 1970784 w 6340475"/>
              <a:gd name="connsiteY3" fmla="*/ 2662238 h 5324475"/>
              <a:gd name="connsiteX4" fmla="*/ 1513682 w 6340475"/>
              <a:gd name="connsiteY4" fmla="*/ 758515 h 5324475"/>
              <a:gd name="connsiteX5" fmla="*/ 4826263 w 6340475"/>
              <a:gd name="connsiteY5" fmla="*/ 0 h 5324475"/>
              <a:gd name="connsiteX6" fmla="*/ 6258018 w 6340475"/>
              <a:gd name="connsiteY6" fmla="*/ 1383174 h 5324475"/>
              <a:gd name="connsiteX7" fmla="*/ 5545889 w 6340475"/>
              <a:gd name="connsiteY7" fmla="*/ 2535819 h 5324475"/>
              <a:gd name="connsiteX8" fmla="*/ 5545889 w 6340475"/>
              <a:gd name="connsiteY8" fmla="*/ 2550691 h 5324475"/>
              <a:gd name="connsiteX9" fmla="*/ 6340475 w 6340475"/>
              <a:gd name="connsiteY9" fmla="*/ 3814882 h 5324475"/>
              <a:gd name="connsiteX10" fmla="*/ 4706326 w 6340475"/>
              <a:gd name="connsiteY10" fmla="*/ 5324475 h 5324475"/>
              <a:gd name="connsiteX11" fmla="*/ 3267075 w 6340475"/>
              <a:gd name="connsiteY11" fmla="*/ 3852064 h 5324475"/>
              <a:gd name="connsiteX12" fmla="*/ 4324025 w 6340475"/>
              <a:gd name="connsiteY12" fmla="*/ 3852064 h 5324475"/>
              <a:gd name="connsiteX13" fmla="*/ 4766295 w 6340475"/>
              <a:gd name="connsiteY13" fmla="*/ 4565961 h 5324475"/>
              <a:gd name="connsiteX14" fmla="*/ 5283525 w 6340475"/>
              <a:gd name="connsiteY14" fmla="*/ 3762827 h 5324475"/>
              <a:gd name="connsiteX15" fmla="*/ 4301536 w 6340475"/>
              <a:gd name="connsiteY15" fmla="*/ 2967131 h 5324475"/>
              <a:gd name="connsiteX16" fmla="*/ 4301536 w 6340475"/>
              <a:gd name="connsiteY16" fmla="*/ 2141688 h 5324475"/>
              <a:gd name="connsiteX17" fmla="*/ 5201068 w 6340475"/>
              <a:gd name="connsiteY17" fmla="*/ 1375737 h 5324475"/>
              <a:gd name="connsiteX18" fmla="*/ 4796279 w 6340475"/>
              <a:gd name="connsiteY18" fmla="*/ 758515 h 5324475"/>
              <a:gd name="connsiteX19" fmla="*/ 4383993 w 6340475"/>
              <a:gd name="connsiteY19" fmla="*/ 1360865 h 5324475"/>
              <a:gd name="connsiteX20" fmla="*/ 3327044 w 6340475"/>
              <a:gd name="connsiteY20" fmla="*/ 1360865 h 5324475"/>
              <a:gd name="connsiteX21" fmla="*/ 3686856 w 6340475"/>
              <a:gd name="connsiteY21" fmla="*/ 275148 h 5324475"/>
              <a:gd name="connsiteX22" fmla="*/ 4826263 w 6340475"/>
              <a:gd name="connsiteY22" fmla="*/ 0 h 5324475"/>
              <a:gd name="connsiteX23" fmla="*/ 1513682 w 6340475"/>
              <a:gd name="connsiteY23" fmla="*/ 0 h 5324475"/>
              <a:gd name="connsiteX24" fmla="*/ 3027363 w 6340475"/>
              <a:gd name="connsiteY24" fmla="*/ 2647365 h 5324475"/>
              <a:gd name="connsiteX25" fmla="*/ 1513682 w 6340475"/>
              <a:gd name="connsiteY25" fmla="*/ 5324475 h 5324475"/>
              <a:gd name="connsiteX26" fmla="*/ 0 w 6340475"/>
              <a:gd name="connsiteY26" fmla="*/ 2647365 h 5324475"/>
              <a:gd name="connsiteX27" fmla="*/ 1513682 w 6340475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4047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26263" y="0"/>
                </a:moveTo>
                <a:cubicBezTo>
                  <a:pt x="5800756" y="0"/>
                  <a:pt x="6258018" y="394130"/>
                  <a:pt x="6258018" y="1383174"/>
                </a:cubicBezTo>
                <a:cubicBezTo>
                  <a:pt x="6258018" y="1873977"/>
                  <a:pt x="6115592" y="2454018"/>
                  <a:pt x="5545889" y="2535819"/>
                </a:cubicBezTo>
                <a:cubicBezTo>
                  <a:pt x="5545889" y="2550691"/>
                  <a:pt x="5545889" y="2550691"/>
                  <a:pt x="5545889" y="2550691"/>
                </a:cubicBezTo>
                <a:cubicBezTo>
                  <a:pt x="6228033" y="2677110"/>
                  <a:pt x="6340475" y="3212533"/>
                  <a:pt x="6340475" y="3814882"/>
                </a:cubicBezTo>
                <a:cubicBezTo>
                  <a:pt x="6340475" y="4885727"/>
                  <a:pt x="5763275" y="5324475"/>
                  <a:pt x="4706326" y="5324475"/>
                </a:cubicBezTo>
                <a:cubicBezTo>
                  <a:pt x="3671864" y="5324475"/>
                  <a:pt x="3267075" y="4960091"/>
                  <a:pt x="3267075" y="3852064"/>
                </a:cubicBezTo>
                <a:cubicBezTo>
                  <a:pt x="4324025" y="3852064"/>
                  <a:pt x="4324025" y="3852064"/>
                  <a:pt x="4324025" y="3852064"/>
                </a:cubicBezTo>
                <a:cubicBezTo>
                  <a:pt x="4324025" y="4194140"/>
                  <a:pt x="4309033" y="4565961"/>
                  <a:pt x="4766295" y="4565961"/>
                </a:cubicBezTo>
                <a:cubicBezTo>
                  <a:pt x="5246045" y="4565961"/>
                  <a:pt x="5283525" y="4127212"/>
                  <a:pt x="5283525" y="3762827"/>
                </a:cubicBezTo>
                <a:cubicBezTo>
                  <a:pt x="5283525" y="3011749"/>
                  <a:pt x="5036154" y="2967131"/>
                  <a:pt x="4301536" y="2967131"/>
                </a:cubicBezTo>
                <a:cubicBezTo>
                  <a:pt x="4301536" y="2141688"/>
                  <a:pt x="4301536" y="2141688"/>
                  <a:pt x="4301536" y="2141688"/>
                </a:cubicBezTo>
                <a:cubicBezTo>
                  <a:pt x="4991177" y="2171434"/>
                  <a:pt x="5201068" y="2097070"/>
                  <a:pt x="5201068" y="1375737"/>
                </a:cubicBezTo>
                <a:cubicBezTo>
                  <a:pt x="5201068" y="1093153"/>
                  <a:pt x="5156092" y="758515"/>
                  <a:pt x="4796279" y="758515"/>
                </a:cubicBezTo>
                <a:cubicBezTo>
                  <a:pt x="4413978" y="758515"/>
                  <a:pt x="4383993" y="1063408"/>
                  <a:pt x="4383993" y="1360865"/>
                </a:cubicBezTo>
                <a:lnTo>
                  <a:pt x="3327044" y="1360865"/>
                </a:lnTo>
                <a:cubicBezTo>
                  <a:pt x="3327044" y="825443"/>
                  <a:pt x="3446981" y="483367"/>
                  <a:pt x="3686856" y="275148"/>
                </a:cubicBezTo>
                <a:cubicBezTo>
                  <a:pt x="3926732" y="74364"/>
                  <a:pt x="4301536" y="0"/>
                  <a:pt x="4826263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2790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CC3A3E53-F4B8-4831-8E8A-2BCF39C93BF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65763" y="768350"/>
            <a:ext cx="6396037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7686F10E-6BEB-4F49-9079-2FC10BB83F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2589" y="765175"/>
            <a:ext cx="6402387" cy="5324475"/>
          </a:xfrm>
          <a:custGeom>
            <a:avLst/>
            <a:gdLst>
              <a:gd name="connsiteX0" fmla="*/ 5102190 w 6402387"/>
              <a:gd name="connsiteY0" fmla="*/ 798690 h 5324475"/>
              <a:gd name="connsiteX1" fmla="*/ 4150460 w 6402387"/>
              <a:gd name="connsiteY1" fmla="*/ 3267821 h 5324475"/>
              <a:gd name="connsiteX2" fmla="*/ 4648806 w 6402387"/>
              <a:gd name="connsiteY2" fmla="*/ 3267821 h 5324475"/>
              <a:gd name="connsiteX3" fmla="*/ 5049732 w 6402387"/>
              <a:gd name="connsiteY3" fmla="*/ 3267821 h 5324475"/>
              <a:gd name="connsiteX4" fmla="*/ 5117177 w 6402387"/>
              <a:gd name="connsiteY4" fmla="*/ 798690 h 5324475"/>
              <a:gd name="connsiteX5" fmla="*/ 5102190 w 6402387"/>
              <a:gd name="connsiteY5" fmla="*/ 798690 h 5324475"/>
              <a:gd name="connsiteX6" fmla="*/ 1513681 w 6402387"/>
              <a:gd name="connsiteY6" fmla="*/ 758515 h 5324475"/>
              <a:gd name="connsiteX7" fmla="*/ 1056579 w 6402387"/>
              <a:gd name="connsiteY7" fmla="*/ 2662238 h 5324475"/>
              <a:gd name="connsiteX8" fmla="*/ 1513681 w 6402387"/>
              <a:gd name="connsiteY8" fmla="*/ 4565961 h 5324475"/>
              <a:gd name="connsiteX9" fmla="*/ 1970783 w 6402387"/>
              <a:gd name="connsiteY9" fmla="*/ 2662238 h 5324475"/>
              <a:gd name="connsiteX10" fmla="*/ 1513681 w 6402387"/>
              <a:gd name="connsiteY10" fmla="*/ 758515 h 5324475"/>
              <a:gd name="connsiteX11" fmla="*/ 4607590 w 6402387"/>
              <a:gd name="connsiteY11" fmla="*/ 69850 h 5324475"/>
              <a:gd name="connsiteX12" fmla="*/ 5997714 w 6402387"/>
              <a:gd name="connsiteY12" fmla="*/ 69850 h 5324475"/>
              <a:gd name="connsiteX13" fmla="*/ 5997714 w 6402387"/>
              <a:gd name="connsiteY13" fmla="*/ 3267821 h 5324475"/>
              <a:gd name="connsiteX14" fmla="*/ 6402387 w 6402387"/>
              <a:gd name="connsiteY14" fmla="*/ 3267821 h 5324475"/>
              <a:gd name="connsiteX15" fmla="*/ 6402387 w 6402387"/>
              <a:gd name="connsiteY15" fmla="*/ 4071032 h 5324475"/>
              <a:gd name="connsiteX16" fmla="*/ 5997714 w 6402387"/>
              <a:gd name="connsiteY16" fmla="*/ 4071032 h 5324475"/>
              <a:gd name="connsiteX17" fmla="*/ 5997714 w 6402387"/>
              <a:gd name="connsiteY17" fmla="*/ 5260975 h 5324475"/>
              <a:gd name="connsiteX18" fmla="*/ 4963552 w 6402387"/>
              <a:gd name="connsiteY18" fmla="*/ 5260975 h 5324475"/>
              <a:gd name="connsiteX19" fmla="*/ 4963552 w 6402387"/>
              <a:gd name="connsiteY19" fmla="*/ 4071032 h 5324475"/>
              <a:gd name="connsiteX20" fmla="*/ 4648806 w 6402387"/>
              <a:gd name="connsiteY20" fmla="*/ 4071032 h 5324475"/>
              <a:gd name="connsiteX21" fmla="*/ 3344862 w 6402387"/>
              <a:gd name="connsiteY21" fmla="*/ 4071032 h 5324475"/>
              <a:gd name="connsiteX22" fmla="*/ 3344862 w 6402387"/>
              <a:gd name="connsiteY22" fmla="*/ 3026114 h 5324475"/>
              <a:gd name="connsiteX23" fmla="*/ 4607590 w 6402387"/>
              <a:gd name="connsiteY23" fmla="*/ 69850 h 5324475"/>
              <a:gd name="connsiteX24" fmla="*/ 1513681 w 6402387"/>
              <a:gd name="connsiteY24" fmla="*/ 0 h 5324475"/>
              <a:gd name="connsiteX25" fmla="*/ 3027362 w 6402387"/>
              <a:gd name="connsiteY25" fmla="*/ 2647365 h 5324475"/>
              <a:gd name="connsiteX26" fmla="*/ 1513681 w 6402387"/>
              <a:gd name="connsiteY26" fmla="*/ 5324475 h 5324475"/>
              <a:gd name="connsiteX27" fmla="*/ 0 w 6402387"/>
              <a:gd name="connsiteY27" fmla="*/ 2647365 h 5324475"/>
              <a:gd name="connsiteX28" fmla="*/ 1513681 w 6402387"/>
              <a:gd name="connsiteY28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402387" h="5324475">
                <a:moveTo>
                  <a:pt x="5102190" y="798690"/>
                </a:moveTo>
                <a:cubicBezTo>
                  <a:pt x="5102190" y="798690"/>
                  <a:pt x="5102190" y="798690"/>
                  <a:pt x="4150460" y="3267821"/>
                </a:cubicBezTo>
                <a:cubicBezTo>
                  <a:pt x="4150460" y="3267821"/>
                  <a:pt x="4150460" y="3267821"/>
                  <a:pt x="4648806" y="3267821"/>
                </a:cubicBezTo>
                <a:cubicBezTo>
                  <a:pt x="4648806" y="3267821"/>
                  <a:pt x="4648806" y="3267821"/>
                  <a:pt x="5049732" y="3267821"/>
                </a:cubicBezTo>
                <a:cubicBezTo>
                  <a:pt x="5049732" y="3267821"/>
                  <a:pt x="5049732" y="3267821"/>
                  <a:pt x="5117177" y="798690"/>
                </a:cubicBezTo>
                <a:cubicBezTo>
                  <a:pt x="5117177" y="798690"/>
                  <a:pt x="5117177" y="798690"/>
                  <a:pt x="5102190" y="798690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607590" y="69850"/>
                </a:moveTo>
                <a:cubicBezTo>
                  <a:pt x="4607590" y="69850"/>
                  <a:pt x="4607590" y="69850"/>
                  <a:pt x="5997714" y="69850"/>
                </a:cubicBezTo>
                <a:cubicBezTo>
                  <a:pt x="5997714" y="69850"/>
                  <a:pt x="5997714" y="69850"/>
                  <a:pt x="5997714" y="3267821"/>
                </a:cubicBezTo>
                <a:lnTo>
                  <a:pt x="6402387" y="3267821"/>
                </a:lnTo>
                <a:cubicBezTo>
                  <a:pt x="6402387" y="3267821"/>
                  <a:pt x="6402387" y="3267821"/>
                  <a:pt x="6402387" y="4071032"/>
                </a:cubicBezTo>
                <a:cubicBezTo>
                  <a:pt x="6402387" y="4071032"/>
                  <a:pt x="6402387" y="4071032"/>
                  <a:pt x="5997714" y="4071032"/>
                </a:cubicBezTo>
                <a:cubicBezTo>
                  <a:pt x="5997714" y="4071032"/>
                  <a:pt x="5997714" y="4071032"/>
                  <a:pt x="5997714" y="5260975"/>
                </a:cubicBezTo>
                <a:cubicBezTo>
                  <a:pt x="5997714" y="5260975"/>
                  <a:pt x="5997714" y="5260975"/>
                  <a:pt x="4963552" y="5260975"/>
                </a:cubicBezTo>
                <a:cubicBezTo>
                  <a:pt x="4963552" y="5260975"/>
                  <a:pt x="4963552" y="5260975"/>
                  <a:pt x="4963552" y="4071032"/>
                </a:cubicBezTo>
                <a:cubicBezTo>
                  <a:pt x="4963552" y="4071032"/>
                  <a:pt x="4963552" y="4071032"/>
                  <a:pt x="4648806" y="4071032"/>
                </a:cubicBezTo>
                <a:cubicBezTo>
                  <a:pt x="4648806" y="4071032"/>
                  <a:pt x="4648806" y="4071032"/>
                  <a:pt x="3344862" y="4071032"/>
                </a:cubicBezTo>
                <a:cubicBezTo>
                  <a:pt x="3344862" y="4071032"/>
                  <a:pt x="3344862" y="4071032"/>
                  <a:pt x="3344862" y="3026114"/>
                </a:cubicBezTo>
                <a:cubicBezTo>
                  <a:pt x="4603843" y="88443"/>
                  <a:pt x="4600096" y="69850"/>
                  <a:pt x="4607590" y="6985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4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48286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B12AE07-BDEA-42C6-960C-BEF6558549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9414" y="765176"/>
            <a:ext cx="6376987" cy="5324475"/>
          </a:xfrm>
          <a:custGeom>
            <a:avLst/>
            <a:gdLst>
              <a:gd name="connsiteX0" fmla="*/ 1513681 w 6376987"/>
              <a:gd name="connsiteY0" fmla="*/ 758515 h 5324475"/>
              <a:gd name="connsiteX1" fmla="*/ 1056579 w 6376987"/>
              <a:gd name="connsiteY1" fmla="*/ 2662238 h 5324475"/>
              <a:gd name="connsiteX2" fmla="*/ 1513681 w 6376987"/>
              <a:gd name="connsiteY2" fmla="*/ 4565961 h 5324475"/>
              <a:gd name="connsiteX3" fmla="*/ 1970783 w 6376987"/>
              <a:gd name="connsiteY3" fmla="*/ 2662238 h 5324475"/>
              <a:gd name="connsiteX4" fmla="*/ 1513681 w 6376987"/>
              <a:gd name="connsiteY4" fmla="*/ 758515 h 5324475"/>
              <a:gd name="connsiteX5" fmla="*/ 3453855 w 6376987"/>
              <a:gd name="connsiteY5" fmla="*/ 66675 h 5324475"/>
              <a:gd name="connsiteX6" fmla="*/ 6189607 w 6376987"/>
              <a:gd name="connsiteY6" fmla="*/ 66675 h 5324475"/>
              <a:gd name="connsiteX7" fmla="*/ 6189607 w 6376987"/>
              <a:gd name="connsiteY7" fmla="*/ 869847 h 5324475"/>
              <a:gd name="connsiteX8" fmla="*/ 4488194 w 6376987"/>
              <a:gd name="connsiteY8" fmla="*/ 869847 h 5324475"/>
              <a:gd name="connsiteX9" fmla="*/ 4488194 w 6376987"/>
              <a:gd name="connsiteY9" fmla="*/ 2163846 h 5324475"/>
              <a:gd name="connsiteX10" fmla="*/ 4503184 w 6376987"/>
              <a:gd name="connsiteY10" fmla="*/ 2178719 h 5324475"/>
              <a:gd name="connsiteX11" fmla="*/ 5260201 w 6376987"/>
              <a:gd name="connsiteY11" fmla="*/ 1829191 h 5324475"/>
              <a:gd name="connsiteX12" fmla="*/ 6376987 w 6376987"/>
              <a:gd name="connsiteY12" fmla="*/ 3539649 h 5324475"/>
              <a:gd name="connsiteX13" fmla="*/ 4780507 w 6376987"/>
              <a:gd name="connsiteY13" fmla="*/ 5324475 h 5324475"/>
              <a:gd name="connsiteX14" fmla="*/ 3393893 w 6376987"/>
              <a:gd name="connsiteY14" fmla="*/ 4037913 h 5324475"/>
              <a:gd name="connsiteX15" fmla="*/ 4450718 w 6376987"/>
              <a:gd name="connsiteY15" fmla="*/ 4037913 h 5324475"/>
              <a:gd name="connsiteX16" fmla="*/ 4525670 w 6376987"/>
              <a:gd name="connsiteY16" fmla="*/ 4409752 h 5324475"/>
              <a:gd name="connsiteX17" fmla="*/ 4847964 w 6376987"/>
              <a:gd name="connsiteY17" fmla="*/ 4565924 h 5324475"/>
              <a:gd name="connsiteX18" fmla="*/ 5320162 w 6376987"/>
              <a:gd name="connsiteY18" fmla="*/ 3539649 h 5324475"/>
              <a:gd name="connsiteX19" fmla="*/ 4870449 w 6376987"/>
              <a:gd name="connsiteY19" fmla="*/ 2498501 h 5324475"/>
              <a:gd name="connsiteX20" fmla="*/ 4473203 w 6376987"/>
              <a:gd name="connsiteY20" fmla="*/ 3078569 h 5324475"/>
              <a:gd name="connsiteX21" fmla="*/ 3453855 w 6376987"/>
              <a:gd name="connsiteY21" fmla="*/ 3078569 h 5324475"/>
              <a:gd name="connsiteX22" fmla="*/ 3453855 w 6376987"/>
              <a:gd name="connsiteY22" fmla="*/ 66675 h 5324475"/>
              <a:gd name="connsiteX23" fmla="*/ 1513681 w 6376987"/>
              <a:gd name="connsiteY23" fmla="*/ 0 h 5324475"/>
              <a:gd name="connsiteX24" fmla="*/ 3027362 w 6376987"/>
              <a:gd name="connsiteY24" fmla="*/ 2647365 h 5324475"/>
              <a:gd name="connsiteX25" fmla="*/ 1513681 w 6376987"/>
              <a:gd name="connsiteY25" fmla="*/ 5324475 h 5324475"/>
              <a:gd name="connsiteX26" fmla="*/ 0 w 6376987"/>
              <a:gd name="connsiteY26" fmla="*/ 2647365 h 5324475"/>
              <a:gd name="connsiteX27" fmla="*/ 1513681 w 6376987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76987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3453855" y="66675"/>
                </a:moveTo>
                <a:cubicBezTo>
                  <a:pt x="6189607" y="66675"/>
                  <a:pt x="6189607" y="66675"/>
                  <a:pt x="6189607" y="66675"/>
                </a:cubicBezTo>
                <a:cubicBezTo>
                  <a:pt x="6189607" y="869847"/>
                  <a:pt x="6189607" y="869847"/>
                  <a:pt x="6189607" y="869847"/>
                </a:cubicBezTo>
                <a:cubicBezTo>
                  <a:pt x="4488194" y="869847"/>
                  <a:pt x="4488194" y="869847"/>
                  <a:pt x="4488194" y="869847"/>
                </a:cubicBezTo>
                <a:lnTo>
                  <a:pt x="4488194" y="2163846"/>
                </a:lnTo>
                <a:cubicBezTo>
                  <a:pt x="4503184" y="2178719"/>
                  <a:pt x="4503184" y="2178719"/>
                  <a:pt x="4503184" y="2178719"/>
                </a:cubicBezTo>
                <a:cubicBezTo>
                  <a:pt x="4668079" y="1933306"/>
                  <a:pt x="4952897" y="1829191"/>
                  <a:pt x="5260201" y="1829191"/>
                </a:cubicBezTo>
                <a:cubicBezTo>
                  <a:pt x="6122150" y="1829191"/>
                  <a:pt x="6376987" y="2416696"/>
                  <a:pt x="6376987" y="3539649"/>
                </a:cubicBezTo>
                <a:cubicBezTo>
                  <a:pt x="6376987" y="4930326"/>
                  <a:pt x="5852322" y="5324475"/>
                  <a:pt x="4780507" y="5324475"/>
                </a:cubicBezTo>
                <a:cubicBezTo>
                  <a:pt x="3911062" y="5324475"/>
                  <a:pt x="3363912" y="4967510"/>
                  <a:pt x="3393893" y="4037913"/>
                </a:cubicBezTo>
                <a:cubicBezTo>
                  <a:pt x="4450718" y="4037913"/>
                  <a:pt x="4450718" y="4037913"/>
                  <a:pt x="4450718" y="4037913"/>
                </a:cubicBezTo>
                <a:cubicBezTo>
                  <a:pt x="4450718" y="4179212"/>
                  <a:pt x="4465708" y="4313074"/>
                  <a:pt x="4525670" y="4409752"/>
                </a:cubicBezTo>
                <a:cubicBezTo>
                  <a:pt x="4585631" y="4506430"/>
                  <a:pt x="4683069" y="4565924"/>
                  <a:pt x="4847964" y="4565924"/>
                </a:cubicBezTo>
                <a:cubicBezTo>
                  <a:pt x="5267696" y="4565924"/>
                  <a:pt x="5320162" y="4246143"/>
                  <a:pt x="5320162" y="3539649"/>
                </a:cubicBezTo>
                <a:cubicBezTo>
                  <a:pt x="5320162" y="3204994"/>
                  <a:pt x="5350143" y="2498501"/>
                  <a:pt x="4870449" y="2498501"/>
                </a:cubicBezTo>
                <a:cubicBezTo>
                  <a:pt x="4563146" y="2498501"/>
                  <a:pt x="4473203" y="2840592"/>
                  <a:pt x="4473203" y="3078569"/>
                </a:cubicBezTo>
                <a:cubicBezTo>
                  <a:pt x="3453855" y="3078569"/>
                  <a:pt x="3453855" y="3078569"/>
                  <a:pt x="3453855" y="3078569"/>
                </a:cubicBezTo>
                <a:cubicBezTo>
                  <a:pt x="3453855" y="66675"/>
                  <a:pt x="3453855" y="66675"/>
                  <a:pt x="3453855" y="66675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544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7FBB8D6-D566-4BAB-A705-2AE0C793D6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4813" y="765176"/>
            <a:ext cx="6351587" cy="5324475"/>
          </a:xfrm>
          <a:custGeom>
            <a:avLst/>
            <a:gdLst>
              <a:gd name="connsiteX0" fmla="*/ 4818659 w 6351587"/>
              <a:gd name="connsiteY0" fmla="*/ 2617619 h 5324475"/>
              <a:gd name="connsiteX1" fmla="*/ 4372648 w 6351587"/>
              <a:gd name="connsiteY1" fmla="*/ 3651281 h 5324475"/>
              <a:gd name="connsiteX2" fmla="*/ 4799919 w 6351587"/>
              <a:gd name="connsiteY2" fmla="*/ 4565961 h 5324475"/>
              <a:gd name="connsiteX3" fmla="*/ 5294653 w 6351587"/>
              <a:gd name="connsiteY3" fmla="*/ 3562044 h 5324475"/>
              <a:gd name="connsiteX4" fmla="*/ 4818659 w 6351587"/>
              <a:gd name="connsiteY4" fmla="*/ 2617619 h 5324475"/>
              <a:gd name="connsiteX5" fmla="*/ 1513681 w 6351587"/>
              <a:gd name="connsiteY5" fmla="*/ 758515 h 5324475"/>
              <a:gd name="connsiteX6" fmla="*/ 1056579 w 6351587"/>
              <a:gd name="connsiteY6" fmla="*/ 2662238 h 5324475"/>
              <a:gd name="connsiteX7" fmla="*/ 1513681 w 6351587"/>
              <a:gd name="connsiteY7" fmla="*/ 4565961 h 5324475"/>
              <a:gd name="connsiteX8" fmla="*/ 1970783 w 6351587"/>
              <a:gd name="connsiteY8" fmla="*/ 2662238 h 5324475"/>
              <a:gd name="connsiteX9" fmla="*/ 1513681 w 6351587"/>
              <a:gd name="connsiteY9" fmla="*/ 758515 h 5324475"/>
              <a:gd name="connsiteX10" fmla="*/ 4923602 w 6351587"/>
              <a:gd name="connsiteY10" fmla="*/ 0 h 5324475"/>
              <a:gd name="connsiteX11" fmla="*/ 6302863 w 6351587"/>
              <a:gd name="connsiteY11" fmla="*/ 1186109 h 5324475"/>
              <a:gd name="connsiteX12" fmla="*/ 5200954 w 6351587"/>
              <a:gd name="connsiteY12" fmla="*/ 1186109 h 5324475"/>
              <a:gd name="connsiteX13" fmla="*/ 5133490 w 6351587"/>
              <a:gd name="connsiteY13" fmla="*/ 855188 h 5324475"/>
              <a:gd name="connsiteX14" fmla="*/ 4833651 w 6351587"/>
              <a:gd name="connsiteY14" fmla="*/ 713896 h 5324475"/>
              <a:gd name="connsiteX15" fmla="*/ 4353908 w 6351587"/>
              <a:gd name="connsiteY15" fmla="*/ 2260671 h 5324475"/>
              <a:gd name="connsiteX16" fmla="*/ 5193458 w 6351587"/>
              <a:gd name="connsiteY16" fmla="*/ 1903723 h 5324475"/>
              <a:gd name="connsiteX17" fmla="*/ 6351587 w 6351587"/>
              <a:gd name="connsiteY17" fmla="*/ 3554608 h 5324475"/>
              <a:gd name="connsiteX18" fmla="*/ 4799919 w 6351587"/>
              <a:gd name="connsiteY18" fmla="*/ 5324475 h 5324475"/>
              <a:gd name="connsiteX19" fmla="*/ 4777431 w 6351587"/>
              <a:gd name="connsiteY19" fmla="*/ 5324475 h 5324475"/>
              <a:gd name="connsiteX20" fmla="*/ 3319462 w 6351587"/>
              <a:gd name="connsiteY20" fmla="*/ 3100986 h 5324475"/>
              <a:gd name="connsiteX21" fmla="*/ 4923602 w 6351587"/>
              <a:gd name="connsiteY21" fmla="*/ 0 h 5324475"/>
              <a:gd name="connsiteX22" fmla="*/ 1513681 w 6351587"/>
              <a:gd name="connsiteY22" fmla="*/ 0 h 5324475"/>
              <a:gd name="connsiteX23" fmla="*/ 3027362 w 6351587"/>
              <a:gd name="connsiteY23" fmla="*/ 2647365 h 5324475"/>
              <a:gd name="connsiteX24" fmla="*/ 1513681 w 6351587"/>
              <a:gd name="connsiteY24" fmla="*/ 5324475 h 5324475"/>
              <a:gd name="connsiteX25" fmla="*/ 0 w 6351587"/>
              <a:gd name="connsiteY25" fmla="*/ 2647365 h 5324475"/>
              <a:gd name="connsiteX26" fmla="*/ 1513681 w 6351587"/>
              <a:gd name="connsiteY2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51587" h="5324475">
                <a:moveTo>
                  <a:pt x="4818659" y="2617619"/>
                </a:moveTo>
                <a:cubicBezTo>
                  <a:pt x="4406379" y="2617619"/>
                  <a:pt x="4372648" y="2996876"/>
                  <a:pt x="4372648" y="3651281"/>
                </a:cubicBezTo>
                <a:cubicBezTo>
                  <a:pt x="4372648" y="3956174"/>
                  <a:pt x="4380143" y="4558524"/>
                  <a:pt x="4799919" y="4565961"/>
                </a:cubicBezTo>
                <a:cubicBezTo>
                  <a:pt x="5159726" y="4565961"/>
                  <a:pt x="5294653" y="4361459"/>
                  <a:pt x="5294653" y="3562044"/>
                </a:cubicBezTo>
                <a:cubicBezTo>
                  <a:pt x="5294653" y="2907639"/>
                  <a:pt x="5215946" y="2617619"/>
                  <a:pt x="4818659" y="2617619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923602" y="0"/>
                </a:moveTo>
                <a:cubicBezTo>
                  <a:pt x="5718177" y="0"/>
                  <a:pt x="6310359" y="338357"/>
                  <a:pt x="6302863" y="1186109"/>
                </a:cubicBezTo>
                <a:cubicBezTo>
                  <a:pt x="6302863" y="1186109"/>
                  <a:pt x="6302863" y="1186109"/>
                  <a:pt x="5200954" y="1186109"/>
                </a:cubicBezTo>
                <a:cubicBezTo>
                  <a:pt x="5208450" y="1052253"/>
                  <a:pt x="5185962" y="936989"/>
                  <a:pt x="5133490" y="855188"/>
                </a:cubicBezTo>
                <a:cubicBezTo>
                  <a:pt x="5073522" y="765951"/>
                  <a:pt x="4983570" y="713896"/>
                  <a:pt x="4833651" y="713896"/>
                </a:cubicBezTo>
                <a:cubicBezTo>
                  <a:pt x="4368900" y="713896"/>
                  <a:pt x="4353908" y="944425"/>
                  <a:pt x="4353908" y="2260671"/>
                </a:cubicBezTo>
                <a:cubicBezTo>
                  <a:pt x="4646251" y="2007833"/>
                  <a:pt x="4803667" y="1903723"/>
                  <a:pt x="5193458" y="1903723"/>
                </a:cubicBezTo>
                <a:cubicBezTo>
                  <a:pt x="6167935" y="1903723"/>
                  <a:pt x="6351587" y="2758911"/>
                  <a:pt x="6351587" y="3554608"/>
                </a:cubicBezTo>
                <a:cubicBezTo>
                  <a:pt x="6351587" y="4621734"/>
                  <a:pt x="5954300" y="5309602"/>
                  <a:pt x="4799919" y="5324475"/>
                </a:cubicBezTo>
                <a:cubicBezTo>
                  <a:pt x="4799919" y="5324475"/>
                  <a:pt x="4784927" y="5324475"/>
                  <a:pt x="4777431" y="5324475"/>
                </a:cubicBezTo>
                <a:cubicBezTo>
                  <a:pt x="3413162" y="5324475"/>
                  <a:pt x="3319462" y="4164394"/>
                  <a:pt x="3319462" y="3100986"/>
                </a:cubicBezTo>
                <a:cubicBezTo>
                  <a:pt x="3319462" y="1033662"/>
                  <a:pt x="3431902" y="0"/>
                  <a:pt x="492360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6465997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2556C16B-02E0-499C-B16B-E3D1297229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1638" y="765176"/>
            <a:ext cx="6219825" cy="5324475"/>
          </a:xfrm>
          <a:custGeom>
            <a:avLst/>
            <a:gdLst>
              <a:gd name="connsiteX0" fmla="*/ 1513682 w 6219825"/>
              <a:gd name="connsiteY0" fmla="*/ 758515 h 5324475"/>
              <a:gd name="connsiteX1" fmla="*/ 1056580 w 6219825"/>
              <a:gd name="connsiteY1" fmla="*/ 2662238 h 5324475"/>
              <a:gd name="connsiteX2" fmla="*/ 1513682 w 6219825"/>
              <a:gd name="connsiteY2" fmla="*/ 4565961 h 5324475"/>
              <a:gd name="connsiteX3" fmla="*/ 1970784 w 6219825"/>
              <a:gd name="connsiteY3" fmla="*/ 2662238 h 5324475"/>
              <a:gd name="connsiteX4" fmla="*/ 1513682 w 6219825"/>
              <a:gd name="connsiteY4" fmla="*/ 758515 h 5324475"/>
              <a:gd name="connsiteX5" fmla="*/ 3409950 w 6219825"/>
              <a:gd name="connsiteY5" fmla="*/ 66675 h 5324475"/>
              <a:gd name="connsiteX6" fmla="*/ 6219825 w 6219825"/>
              <a:gd name="connsiteY6" fmla="*/ 66675 h 5324475"/>
              <a:gd name="connsiteX7" fmla="*/ 6219825 w 6219825"/>
              <a:gd name="connsiteY7" fmla="*/ 1055688 h 5324475"/>
              <a:gd name="connsiteX8" fmla="*/ 4945062 w 6219825"/>
              <a:gd name="connsiteY8" fmla="*/ 5257800 h 5324475"/>
              <a:gd name="connsiteX9" fmla="*/ 3768725 w 6219825"/>
              <a:gd name="connsiteY9" fmla="*/ 5257800 h 5324475"/>
              <a:gd name="connsiteX10" fmla="*/ 5200650 w 6219825"/>
              <a:gd name="connsiteY10" fmla="*/ 869950 h 5324475"/>
              <a:gd name="connsiteX11" fmla="*/ 3409950 w 6219825"/>
              <a:gd name="connsiteY11" fmla="*/ 869950 h 5324475"/>
              <a:gd name="connsiteX12" fmla="*/ 1513682 w 6219825"/>
              <a:gd name="connsiteY12" fmla="*/ 0 h 5324475"/>
              <a:gd name="connsiteX13" fmla="*/ 3027363 w 6219825"/>
              <a:gd name="connsiteY13" fmla="*/ 2647365 h 5324475"/>
              <a:gd name="connsiteX14" fmla="*/ 1513682 w 6219825"/>
              <a:gd name="connsiteY14" fmla="*/ 5324475 h 5324475"/>
              <a:gd name="connsiteX15" fmla="*/ 0 w 6219825"/>
              <a:gd name="connsiteY15" fmla="*/ 2647365 h 5324475"/>
              <a:gd name="connsiteX16" fmla="*/ 1513682 w 6219825"/>
              <a:gd name="connsiteY1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1982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3409950" y="66675"/>
                </a:moveTo>
                <a:lnTo>
                  <a:pt x="6219825" y="66675"/>
                </a:lnTo>
                <a:lnTo>
                  <a:pt x="6219825" y="1055688"/>
                </a:lnTo>
                <a:lnTo>
                  <a:pt x="4945062" y="5257800"/>
                </a:lnTo>
                <a:lnTo>
                  <a:pt x="3768725" y="5257800"/>
                </a:lnTo>
                <a:lnTo>
                  <a:pt x="5200650" y="869950"/>
                </a:lnTo>
                <a:lnTo>
                  <a:pt x="3409950" y="869950"/>
                </a:ln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14671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286F1DC7-1C16-4D6A-BED6-DC5C2D8589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10214" y="765175"/>
            <a:ext cx="6351587" cy="5324475"/>
          </a:xfrm>
          <a:custGeom>
            <a:avLst/>
            <a:gdLst>
              <a:gd name="connsiteX0" fmla="*/ 4840861 w 6351587"/>
              <a:gd name="connsiteY0" fmla="*/ 2937385 h 5324475"/>
              <a:gd name="connsiteX1" fmla="*/ 4383519 w 6351587"/>
              <a:gd name="connsiteY1" fmla="*/ 3859501 h 5324475"/>
              <a:gd name="connsiteX2" fmla="*/ 4840861 w 6351587"/>
              <a:gd name="connsiteY2" fmla="*/ 4565961 h 5324475"/>
              <a:gd name="connsiteX3" fmla="*/ 4844609 w 6351587"/>
              <a:gd name="connsiteY3" fmla="*/ 4565961 h 5324475"/>
              <a:gd name="connsiteX4" fmla="*/ 5294453 w 6351587"/>
              <a:gd name="connsiteY4" fmla="*/ 3859501 h 5324475"/>
              <a:gd name="connsiteX5" fmla="*/ 4840861 w 6351587"/>
              <a:gd name="connsiteY5" fmla="*/ 2937385 h 5324475"/>
              <a:gd name="connsiteX6" fmla="*/ 4840861 w 6351587"/>
              <a:gd name="connsiteY6" fmla="*/ 758515 h 5324475"/>
              <a:gd name="connsiteX7" fmla="*/ 4428504 w 6351587"/>
              <a:gd name="connsiteY7" fmla="*/ 1435229 h 5324475"/>
              <a:gd name="connsiteX8" fmla="*/ 4840861 w 6351587"/>
              <a:gd name="connsiteY8" fmla="*/ 2134252 h 5324475"/>
              <a:gd name="connsiteX9" fmla="*/ 4844609 w 6351587"/>
              <a:gd name="connsiteY9" fmla="*/ 2134252 h 5324475"/>
              <a:gd name="connsiteX10" fmla="*/ 5253218 w 6351587"/>
              <a:gd name="connsiteY10" fmla="*/ 1435229 h 5324475"/>
              <a:gd name="connsiteX11" fmla="*/ 4840861 w 6351587"/>
              <a:gd name="connsiteY11" fmla="*/ 758515 h 5324475"/>
              <a:gd name="connsiteX12" fmla="*/ 1513681 w 6351587"/>
              <a:gd name="connsiteY12" fmla="*/ 758515 h 5324475"/>
              <a:gd name="connsiteX13" fmla="*/ 1056579 w 6351587"/>
              <a:gd name="connsiteY13" fmla="*/ 2662238 h 5324475"/>
              <a:gd name="connsiteX14" fmla="*/ 1513681 w 6351587"/>
              <a:gd name="connsiteY14" fmla="*/ 4565961 h 5324475"/>
              <a:gd name="connsiteX15" fmla="*/ 1970783 w 6351587"/>
              <a:gd name="connsiteY15" fmla="*/ 2662238 h 5324475"/>
              <a:gd name="connsiteX16" fmla="*/ 1513681 w 6351587"/>
              <a:gd name="connsiteY16" fmla="*/ 758515 h 5324475"/>
              <a:gd name="connsiteX17" fmla="*/ 4837112 w 6351587"/>
              <a:gd name="connsiteY17" fmla="*/ 0 h 5324475"/>
              <a:gd name="connsiteX18" fmla="*/ 6306603 w 6351587"/>
              <a:gd name="connsiteY18" fmla="*/ 1375737 h 5324475"/>
              <a:gd name="connsiteX19" fmla="*/ 5579355 w 6351587"/>
              <a:gd name="connsiteY19" fmla="*/ 2506073 h 5324475"/>
              <a:gd name="connsiteX20" fmla="*/ 5579355 w 6351587"/>
              <a:gd name="connsiteY20" fmla="*/ 2520946 h 5324475"/>
              <a:gd name="connsiteX21" fmla="*/ 6351587 w 6351587"/>
              <a:gd name="connsiteY21" fmla="*/ 3926429 h 5324475"/>
              <a:gd name="connsiteX22" fmla="*/ 4844609 w 6351587"/>
              <a:gd name="connsiteY22" fmla="*/ 5324475 h 5324475"/>
              <a:gd name="connsiteX23" fmla="*/ 4837112 w 6351587"/>
              <a:gd name="connsiteY23" fmla="*/ 5324475 h 5324475"/>
              <a:gd name="connsiteX24" fmla="*/ 3322637 w 6351587"/>
              <a:gd name="connsiteY24" fmla="*/ 3926429 h 5324475"/>
              <a:gd name="connsiteX25" fmla="*/ 4094869 w 6351587"/>
              <a:gd name="connsiteY25" fmla="*/ 2520946 h 5324475"/>
              <a:gd name="connsiteX26" fmla="*/ 4094869 w 6351587"/>
              <a:gd name="connsiteY26" fmla="*/ 2506073 h 5324475"/>
              <a:gd name="connsiteX27" fmla="*/ 3367621 w 6351587"/>
              <a:gd name="connsiteY27" fmla="*/ 1375737 h 5324475"/>
              <a:gd name="connsiteX28" fmla="*/ 4837112 w 6351587"/>
              <a:gd name="connsiteY28" fmla="*/ 0 h 5324475"/>
              <a:gd name="connsiteX29" fmla="*/ 1513681 w 6351587"/>
              <a:gd name="connsiteY29" fmla="*/ 0 h 5324475"/>
              <a:gd name="connsiteX30" fmla="*/ 3027362 w 6351587"/>
              <a:gd name="connsiteY30" fmla="*/ 2647365 h 5324475"/>
              <a:gd name="connsiteX31" fmla="*/ 1513681 w 6351587"/>
              <a:gd name="connsiteY31" fmla="*/ 5324475 h 5324475"/>
              <a:gd name="connsiteX32" fmla="*/ 0 w 6351587"/>
              <a:gd name="connsiteY32" fmla="*/ 2647365 h 5324475"/>
              <a:gd name="connsiteX33" fmla="*/ 1513681 w 6351587"/>
              <a:gd name="connsiteY33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351587" h="5324475">
                <a:moveTo>
                  <a:pt x="4840861" y="2937385"/>
                </a:moveTo>
                <a:cubicBezTo>
                  <a:pt x="4368524" y="2937385"/>
                  <a:pt x="4383519" y="3547171"/>
                  <a:pt x="4383519" y="3859501"/>
                </a:cubicBezTo>
                <a:cubicBezTo>
                  <a:pt x="4383519" y="4156958"/>
                  <a:pt x="4436001" y="4565961"/>
                  <a:pt x="4840861" y="4565961"/>
                </a:cubicBezTo>
                <a:cubicBezTo>
                  <a:pt x="4840861" y="4565961"/>
                  <a:pt x="4844609" y="4565961"/>
                  <a:pt x="4844609" y="4565961"/>
                </a:cubicBezTo>
                <a:cubicBezTo>
                  <a:pt x="5249469" y="4562242"/>
                  <a:pt x="5294453" y="4156958"/>
                  <a:pt x="5294453" y="3859501"/>
                </a:cubicBezTo>
                <a:cubicBezTo>
                  <a:pt x="5294453" y="3550890"/>
                  <a:pt x="5309448" y="2944821"/>
                  <a:pt x="4840861" y="2937385"/>
                </a:cubicBezTo>
                <a:close/>
                <a:moveTo>
                  <a:pt x="4840861" y="758515"/>
                </a:moveTo>
                <a:cubicBezTo>
                  <a:pt x="4473488" y="758515"/>
                  <a:pt x="4428504" y="1182390"/>
                  <a:pt x="4428504" y="1435229"/>
                </a:cubicBezTo>
                <a:cubicBezTo>
                  <a:pt x="4428504" y="1702940"/>
                  <a:pt x="4473488" y="2130534"/>
                  <a:pt x="4840861" y="2134252"/>
                </a:cubicBezTo>
                <a:cubicBezTo>
                  <a:pt x="4844609" y="2134252"/>
                  <a:pt x="4840861" y="2134252"/>
                  <a:pt x="4844609" y="2134252"/>
                </a:cubicBezTo>
                <a:cubicBezTo>
                  <a:pt x="5211982" y="2126816"/>
                  <a:pt x="5253218" y="1702940"/>
                  <a:pt x="5253218" y="1435229"/>
                </a:cubicBezTo>
                <a:cubicBezTo>
                  <a:pt x="5253218" y="1182390"/>
                  <a:pt x="5208233" y="758515"/>
                  <a:pt x="4840861" y="758515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837112" y="0"/>
                </a:moveTo>
                <a:cubicBezTo>
                  <a:pt x="5804277" y="0"/>
                  <a:pt x="6306603" y="431312"/>
                  <a:pt x="6306603" y="1375737"/>
                </a:cubicBezTo>
                <a:cubicBezTo>
                  <a:pt x="6306603" y="1926032"/>
                  <a:pt x="6179147" y="2357345"/>
                  <a:pt x="5579355" y="2506073"/>
                </a:cubicBezTo>
                <a:cubicBezTo>
                  <a:pt x="5579355" y="2506073"/>
                  <a:pt x="5579355" y="2506073"/>
                  <a:pt x="5579355" y="2520946"/>
                </a:cubicBezTo>
                <a:cubicBezTo>
                  <a:pt x="6254121" y="2758911"/>
                  <a:pt x="6351587" y="3286897"/>
                  <a:pt x="6351587" y="3926429"/>
                </a:cubicBezTo>
                <a:cubicBezTo>
                  <a:pt x="6351587" y="4900599"/>
                  <a:pt x="5834266" y="5324475"/>
                  <a:pt x="4844609" y="5324475"/>
                </a:cubicBezTo>
                <a:cubicBezTo>
                  <a:pt x="4844609" y="5324475"/>
                  <a:pt x="4840861" y="5324475"/>
                  <a:pt x="4837112" y="5324475"/>
                </a:cubicBezTo>
                <a:cubicBezTo>
                  <a:pt x="3847455" y="5324475"/>
                  <a:pt x="3322637" y="4900599"/>
                  <a:pt x="3322637" y="3926429"/>
                </a:cubicBezTo>
                <a:cubicBezTo>
                  <a:pt x="3322637" y="3286897"/>
                  <a:pt x="3420103" y="2758911"/>
                  <a:pt x="4094869" y="2520946"/>
                </a:cubicBezTo>
                <a:cubicBezTo>
                  <a:pt x="4094869" y="2520946"/>
                  <a:pt x="4094869" y="2520946"/>
                  <a:pt x="4094869" y="2506073"/>
                </a:cubicBezTo>
                <a:cubicBezTo>
                  <a:pt x="3510072" y="2357345"/>
                  <a:pt x="3367621" y="1926032"/>
                  <a:pt x="3367621" y="1375737"/>
                </a:cubicBezTo>
                <a:cubicBezTo>
                  <a:pt x="3367621" y="431312"/>
                  <a:pt x="3869947" y="0"/>
                  <a:pt x="483711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8888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011AACA-54C2-4EF9-87BC-944999F30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1326" y="765174"/>
            <a:ext cx="6355205" cy="5327650"/>
          </a:xfrm>
          <a:custGeom>
            <a:avLst/>
            <a:gdLst>
              <a:gd name="connsiteX0" fmla="*/ 1513682 w 6355205"/>
              <a:gd name="connsiteY0" fmla="*/ 758515 h 5327650"/>
              <a:gd name="connsiteX1" fmla="*/ 1056580 w 6355205"/>
              <a:gd name="connsiteY1" fmla="*/ 2662238 h 5327650"/>
              <a:gd name="connsiteX2" fmla="*/ 1513682 w 6355205"/>
              <a:gd name="connsiteY2" fmla="*/ 4565961 h 5327650"/>
              <a:gd name="connsiteX3" fmla="*/ 1970784 w 6355205"/>
              <a:gd name="connsiteY3" fmla="*/ 2662238 h 5327650"/>
              <a:gd name="connsiteX4" fmla="*/ 1513682 w 6355205"/>
              <a:gd name="connsiteY4" fmla="*/ 758515 h 5327650"/>
              <a:gd name="connsiteX5" fmla="*/ 4833586 w 6355205"/>
              <a:gd name="connsiteY5" fmla="*/ 713823 h 5327650"/>
              <a:gd name="connsiteX6" fmla="*/ 4376351 w 6355205"/>
              <a:gd name="connsiteY6" fmla="*/ 1635845 h 5327650"/>
              <a:gd name="connsiteX7" fmla="*/ 4814847 w 6355205"/>
              <a:gd name="connsiteY7" fmla="*/ 2535560 h 5327650"/>
              <a:gd name="connsiteX8" fmla="*/ 4822343 w 6355205"/>
              <a:gd name="connsiteY8" fmla="*/ 2535560 h 5327650"/>
              <a:gd name="connsiteX9" fmla="*/ 5298317 w 6355205"/>
              <a:gd name="connsiteY9" fmla="*/ 1613538 h 5327650"/>
              <a:gd name="connsiteX10" fmla="*/ 4833586 w 6355205"/>
              <a:gd name="connsiteY10" fmla="*/ 713823 h 5327650"/>
              <a:gd name="connsiteX11" fmla="*/ 4811099 w 6355205"/>
              <a:gd name="connsiteY11" fmla="*/ 0 h 5327650"/>
              <a:gd name="connsiteX12" fmla="*/ 6355205 w 6355205"/>
              <a:gd name="connsiteY12" fmla="*/ 2687991 h 5327650"/>
              <a:gd name="connsiteX13" fmla="*/ 4803604 w 6355205"/>
              <a:gd name="connsiteY13" fmla="*/ 5327650 h 5327650"/>
              <a:gd name="connsiteX14" fmla="*/ 3394420 w 6355205"/>
              <a:gd name="connsiteY14" fmla="*/ 4041281 h 5327650"/>
              <a:gd name="connsiteX15" fmla="*/ 4443812 w 6355205"/>
              <a:gd name="connsiteY15" fmla="*/ 4041281 h 5327650"/>
              <a:gd name="connsiteX16" fmla="*/ 4518769 w 6355205"/>
              <a:gd name="connsiteY16" fmla="*/ 4405628 h 5327650"/>
              <a:gd name="connsiteX17" fmla="*/ 4829839 w 6355205"/>
              <a:gd name="connsiteY17" fmla="*/ 4565495 h 5327650"/>
              <a:gd name="connsiteX18" fmla="*/ 5294569 w 6355205"/>
              <a:gd name="connsiteY18" fmla="*/ 2907343 h 5327650"/>
              <a:gd name="connsiteX19" fmla="*/ 4814847 w 6355205"/>
              <a:gd name="connsiteY19" fmla="*/ 3197334 h 5327650"/>
              <a:gd name="connsiteX20" fmla="*/ 4428821 w 6355205"/>
              <a:gd name="connsiteY20" fmla="*/ 3249383 h 5327650"/>
              <a:gd name="connsiteX21" fmla="*/ 3319463 w 6355205"/>
              <a:gd name="connsiteY21" fmla="*/ 1844044 h 5327650"/>
              <a:gd name="connsiteX22" fmla="*/ 4811099 w 6355205"/>
              <a:gd name="connsiteY22" fmla="*/ 0 h 5327650"/>
              <a:gd name="connsiteX23" fmla="*/ 1513682 w 6355205"/>
              <a:gd name="connsiteY23" fmla="*/ 0 h 5327650"/>
              <a:gd name="connsiteX24" fmla="*/ 3027363 w 6355205"/>
              <a:gd name="connsiteY24" fmla="*/ 2647365 h 5327650"/>
              <a:gd name="connsiteX25" fmla="*/ 1513682 w 6355205"/>
              <a:gd name="connsiteY25" fmla="*/ 5324475 h 5327650"/>
              <a:gd name="connsiteX26" fmla="*/ 0 w 6355205"/>
              <a:gd name="connsiteY26" fmla="*/ 2647365 h 5327650"/>
              <a:gd name="connsiteX27" fmla="*/ 1513682 w 6355205"/>
              <a:gd name="connsiteY2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55205" h="5327650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33586" y="713823"/>
                </a:moveTo>
                <a:cubicBezTo>
                  <a:pt x="4376351" y="713823"/>
                  <a:pt x="4376351" y="1316112"/>
                  <a:pt x="4376351" y="1635845"/>
                </a:cubicBezTo>
                <a:cubicBezTo>
                  <a:pt x="4376351" y="1955579"/>
                  <a:pt x="4380099" y="2528124"/>
                  <a:pt x="4814847" y="2535560"/>
                </a:cubicBezTo>
                <a:cubicBezTo>
                  <a:pt x="4814847" y="2535560"/>
                  <a:pt x="4822343" y="2535560"/>
                  <a:pt x="4822343" y="2535560"/>
                </a:cubicBezTo>
                <a:cubicBezTo>
                  <a:pt x="5272083" y="2535560"/>
                  <a:pt x="5298317" y="1933272"/>
                  <a:pt x="5298317" y="1613538"/>
                </a:cubicBezTo>
                <a:cubicBezTo>
                  <a:pt x="5298317" y="1286369"/>
                  <a:pt x="5283326" y="713823"/>
                  <a:pt x="4833586" y="713823"/>
                </a:cubicBezTo>
                <a:close/>
                <a:moveTo>
                  <a:pt x="4811099" y="0"/>
                </a:moveTo>
                <a:cubicBezTo>
                  <a:pt x="6362701" y="0"/>
                  <a:pt x="6355205" y="1230602"/>
                  <a:pt x="6355205" y="2687991"/>
                </a:cubicBezTo>
                <a:cubicBezTo>
                  <a:pt x="6355205" y="3966924"/>
                  <a:pt x="6332718" y="5327650"/>
                  <a:pt x="4803604" y="5327650"/>
                </a:cubicBezTo>
                <a:cubicBezTo>
                  <a:pt x="3896629" y="5327650"/>
                  <a:pt x="3371933" y="5022788"/>
                  <a:pt x="3394420" y="4041281"/>
                </a:cubicBezTo>
                <a:cubicBezTo>
                  <a:pt x="3394420" y="4041281"/>
                  <a:pt x="3394420" y="4041281"/>
                  <a:pt x="4443812" y="4041281"/>
                </a:cubicBezTo>
                <a:cubicBezTo>
                  <a:pt x="4443812" y="4175123"/>
                  <a:pt x="4458803" y="4308965"/>
                  <a:pt x="4518769" y="4405628"/>
                </a:cubicBezTo>
                <a:cubicBezTo>
                  <a:pt x="4578734" y="4502292"/>
                  <a:pt x="4672430" y="4565495"/>
                  <a:pt x="4829839" y="4565495"/>
                </a:cubicBezTo>
                <a:cubicBezTo>
                  <a:pt x="5354535" y="4565495"/>
                  <a:pt x="5294569" y="4141662"/>
                  <a:pt x="5294569" y="2907343"/>
                </a:cubicBezTo>
                <a:cubicBezTo>
                  <a:pt x="5152152" y="3048621"/>
                  <a:pt x="4994743" y="3141566"/>
                  <a:pt x="4814847" y="3197334"/>
                </a:cubicBezTo>
                <a:cubicBezTo>
                  <a:pt x="4694917" y="3234512"/>
                  <a:pt x="4563743" y="3249383"/>
                  <a:pt x="4428821" y="3249383"/>
                </a:cubicBezTo>
                <a:cubicBezTo>
                  <a:pt x="3626785" y="3249383"/>
                  <a:pt x="3319463" y="2535560"/>
                  <a:pt x="3319463" y="1844044"/>
                </a:cubicBezTo>
                <a:cubicBezTo>
                  <a:pt x="3319463" y="825358"/>
                  <a:pt x="3634281" y="0"/>
                  <a:pt x="4811099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987025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32DFA9D-5800-4F7F-924A-442E4B5302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20518" y="765174"/>
            <a:ext cx="5858744" cy="5327650"/>
          </a:xfrm>
          <a:custGeom>
            <a:avLst/>
            <a:gdLst>
              <a:gd name="connsiteX0" fmla="*/ 4345063 w 5858744"/>
              <a:gd name="connsiteY0" fmla="*/ 758967 h 5327650"/>
              <a:gd name="connsiteX1" fmla="*/ 3887961 w 5858744"/>
              <a:gd name="connsiteY1" fmla="*/ 2663825 h 5327650"/>
              <a:gd name="connsiteX2" fmla="*/ 4345063 w 5858744"/>
              <a:gd name="connsiteY2" fmla="*/ 4568683 h 5327650"/>
              <a:gd name="connsiteX3" fmla="*/ 4802164 w 5858744"/>
              <a:gd name="connsiteY3" fmla="*/ 2663825 h 5327650"/>
              <a:gd name="connsiteX4" fmla="*/ 4345063 w 5858744"/>
              <a:gd name="connsiteY4" fmla="*/ 758967 h 5327650"/>
              <a:gd name="connsiteX5" fmla="*/ 1011810 w 5858744"/>
              <a:gd name="connsiteY5" fmla="*/ 82550 h 5327650"/>
              <a:gd name="connsiteX6" fmla="*/ 2016125 w 5858744"/>
              <a:gd name="connsiteY6" fmla="*/ 82550 h 5327650"/>
              <a:gd name="connsiteX7" fmla="*/ 2016125 w 5858744"/>
              <a:gd name="connsiteY7" fmla="*/ 5275263 h 5327650"/>
              <a:gd name="connsiteX8" fmla="*/ 884397 w 5858744"/>
              <a:gd name="connsiteY8" fmla="*/ 5275263 h 5327650"/>
              <a:gd name="connsiteX9" fmla="*/ 884397 w 5858744"/>
              <a:gd name="connsiteY9" fmla="*/ 1280296 h 5327650"/>
              <a:gd name="connsiteX10" fmla="*/ 0 w 5858744"/>
              <a:gd name="connsiteY10" fmla="*/ 1860571 h 5327650"/>
              <a:gd name="connsiteX11" fmla="*/ 0 w 5858744"/>
              <a:gd name="connsiteY11" fmla="*/ 886007 h 5327650"/>
              <a:gd name="connsiteX12" fmla="*/ 1011810 w 5858744"/>
              <a:gd name="connsiteY12" fmla="*/ 82550 h 5327650"/>
              <a:gd name="connsiteX13" fmla="*/ 4345063 w 5858744"/>
              <a:gd name="connsiteY13" fmla="*/ 0 h 5327650"/>
              <a:gd name="connsiteX14" fmla="*/ 5858744 w 5858744"/>
              <a:gd name="connsiteY14" fmla="*/ 2648943 h 5327650"/>
              <a:gd name="connsiteX15" fmla="*/ 4345063 w 5858744"/>
              <a:gd name="connsiteY15" fmla="*/ 5327650 h 5327650"/>
              <a:gd name="connsiteX16" fmla="*/ 2831381 w 5858744"/>
              <a:gd name="connsiteY16" fmla="*/ 2648943 h 5327650"/>
              <a:gd name="connsiteX17" fmla="*/ 4345063 w 5858744"/>
              <a:gd name="connsiteY1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858744" h="5327650">
                <a:moveTo>
                  <a:pt x="4345063" y="758967"/>
                </a:moveTo>
                <a:cubicBezTo>
                  <a:pt x="3895454" y="758967"/>
                  <a:pt x="3887961" y="1064042"/>
                  <a:pt x="3887961" y="2663825"/>
                </a:cubicBezTo>
                <a:cubicBezTo>
                  <a:pt x="3887961" y="4233845"/>
                  <a:pt x="3925428" y="4568683"/>
                  <a:pt x="4345063" y="4568683"/>
                </a:cubicBezTo>
                <a:cubicBezTo>
                  <a:pt x="4764697" y="4568683"/>
                  <a:pt x="4802164" y="4233845"/>
                  <a:pt x="4802164" y="2663825"/>
                </a:cubicBezTo>
                <a:cubicBezTo>
                  <a:pt x="4802164" y="1064042"/>
                  <a:pt x="4794671" y="758967"/>
                  <a:pt x="4345063" y="758967"/>
                </a:cubicBezTo>
                <a:close/>
                <a:moveTo>
                  <a:pt x="1011810" y="82550"/>
                </a:moveTo>
                <a:cubicBezTo>
                  <a:pt x="2016125" y="82550"/>
                  <a:pt x="2016125" y="82550"/>
                  <a:pt x="2016125" y="82550"/>
                </a:cubicBezTo>
                <a:cubicBezTo>
                  <a:pt x="2016125" y="5275263"/>
                  <a:pt x="2016125" y="5275263"/>
                  <a:pt x="2016125" y="5275263"/>
                </a:cubicBezTo>
                <a:cubicBezTo>
                  <a:pt x="884397" y="5275263"/>
                  <a:pt x="884397" y="5275263"/>
                  <a:pt x="884397" y="5275263"/>
                </a:cubicBezTo>
                <a:cubicBezTo>
                  <a:pt x="884397" y="1280296"/>
                  <a:pt x="884397" y="1280296"/>
                  <a:pt x="884397" y="1280296"/>
                </a:cubicBezTo>
                <a:cubicBezTo>
                  <a:pt x="614581" y="1503479"/>
                  <a:pt x="307291" y="1696904"/>
                  <a:pt x="0" y="1860571"/>
                </a:cubicBezTo>
                <a:lnTo>
                  <a:pt x="0" y="886007"/>
                </a:lnTo>
                <a:cubicBezTo>
                  <a:pt x="374745" y="677703"/>
                  <a:pt x="741994" y="432203"/>
                  <a:pt x="1011810" y="82550"/>
                </a:cubicBezTo>
                <a:close/>
                <a:moveTo>
                  <a:pt x="4345063" y="0"/>
                </a:moveTo>
                <a:cubicBezTo>
                  <a:pt x="5633940" y="0"/>
                  <a:pt x="5858744" y="662236"/>
                  <a:pt x="5858744" y="2648943"/>
                </a:cubicBezTo>
                <a:cubicBezTo>
                  <a:pt x="5858744" y="4278490"/>
                  <a:pt x="5753835" y="5327650"/>
                  <a:pt x="4345063" y="5327650"/>
                </a:cubicBezTo>
                <a:cubicBezTo>
                  <a:pt x="2936290" y="5327650"/>
                  <a:pt x="2831381" y="4278490"/>
                  <a:pt x="2831381" y="2648943"/>
                </a:cubicBezTo>
                <a:cubicBezTo>
                  <a:pt x="2831381" y="662236"/>
                  <a:pt x="3056185" y="0"/>
                  <a:pt x="43450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467032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4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807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|    Studienvorbereitungskurs 2023</a:t>
            </a:r>
            <a:endParaRPr lang="de-DE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Fußzeile Universität Augs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5" r:id="rId3"/>
    <p:sldLayoutId id="2147483734" r:id="rId4"/>
    <p:sldLayoutId id="2147483724" r:id="rId5"/>
    <p:sldLayoutId id="2147483693" r:id="rId6"/>
    <p:sldLayoutId id="2147483650" r:id="rId7"/>
    <p:sldLayoutId id="2147483652" r:id="rId8"/>
    <p:sldLayoutId id="2147483700" r:id="rId9"/>
    <p:sldLayoutId id="2147483701" r:id="rId10"/>
    <p:sldLayoutId id="2147483653" r:id="rId11"/>
    <p:sldLayoutId id="2147483692" r:id="rId12"/>
    <p:sldLayoutId id="2147483704" r:id="rId13"/>
    <p:sldLayoutId id="2147483705" r:id="rId14"/>
    <p:sldLayoutId id="2147483707" r:id="rId15"/>
    <p:sldLayoutId id="2147483654" r:id="rId16"/>
    <p:sldLayoutId id="2147483733" r:id="rId17"/>
    <p:sldLayoutId id="2147483737" r:id="rId18"/>
    <p:sldLayoutId id="2147483684" r:id="rId19"/>
    <p:sldLayoutId id="2147483698" r:id="rId20"/>
    <p:sldLayoutId id="2147483697" r:id="rId21"/>
    <p:sldLayoutId id="2147483685" r:id="rId22"/>
    <p:sldLayoutId id="2147483681" r:id="rId23"/>
    <p:sldLayoutId id="2147483703" r:id="rId24"/>
    <p:sldLayoutId id="2147483736" r:id="rId25"/>
    <p:sldLayoutId id="2147483686" r:id="rId26"/>
    <p:sldLayoutId id="2147483687" r:id="rId27"/>
    <p:sldLayoutId id="2147483690" r:id="rId28"/>
    <p:sldLayoutId id="2147483696" r:id="rId29"/>
    <p:sldLayoutId id="2147483679" r:id="rId30"/>
    <p:sldLayoutId id="2147483682" r:id="rId31"/>
    <p:sldLayoutId id="2147483678" r:id="rId32"/>
    <p:sldLayoutId id="2147483675" r:id="rId33"/>
    <p:sldLayoutId id="2147483688" r:id="rId34"/>
    <p:sldLayoutId id="2147483723" r:id="rId35"/>
    <p:sldLayoutId id="2147483699" r:id="rId36"/>
    <p:sldLayoutId id="2147483722" r:id="rId37"/>
    <p:sldLayoutId id="2147483738" r:id="rId38"/>
    <p:sldLayoutId id="2147483709" r:id="rId39"/>
    <p:sldLayoutId id="2147483710" r:id="rId40"/>
    <p:sldLayoutId id="2147483708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  <p:sldLayoutId id="2147483739" r:id="rId49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5.jpeg"/><Relationship Id="rId18" Type="http://schemas.openxmlformats.org/officeDocument/2006/relationships/image" Target="../media/image10.png"/><Relationship Id="rId26" Type="http://schemas.openxmlformats.org/officeDocument/2006/relationships/image" Target="../media/image18.png"/><Relationship Id="rId3" Type="http://schemas.openxmlformats.org/officeDocument/2006/relationships/tags" Target="../tags/tag8.xml"/><Relationship Id="rId21" Type="http://schemas.openxmlformats.org/officeDocument/2006/relationships/image" Target="../media/image13.svg"/><Relationship Id="rId7" Type="http://schemas.openxmlformats.org/officeDocument/2006/relationships/tags" Target="../tags/tag12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9.svg"/><Relationship Id="rId25" Type="http://schemas.openxmlformats.org/officeDocument/2006/relationships/image" Target="../media/image17.svg"/><Relationship Id="rId2" Type="http://schemas.openxmlformats.org/officeDocument/2006/relationships/tags" Target="../tags/tag7.xml"/><Relationship Id="rId16" Type="http://schemas.openxmlformats.org/officeDocument/2006/relationships/image" Target="../media/image8.png"/><Relationship Id="rId20" Type="http://schemas.openxmlformats.org/officeDocument/2006/relationships/image" Target="../media/image12.png"/><Relationship Id="rId29" Type="http://schemas.openxmlformats.org/officeDocument/2006/relationships/image" Target="../media/image21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1.xml"/><Relationship Id="rId24" Type="http://schemas.openxmlformats.org/officeDocument/2006/relationships/image" Target="../media/image16.png"/><Relationship Id="rId5" Type="http://schemas.openxmlformats.org/officeDocument/2006/relationships/tags" Target="../tags/tag10.xml"/><Relationship Id="rId15" Type="http://schemas.openxmlformats.org/officeDocument/2006/relationships/image" Target="../media/image7.svg"/><Relationship Id="rId23" Type="http://schemas.openxmlformats.org/officeDocument/2006/relationships/image" Target="../media/image15.svg"/><Relationship Id="rId28" Type="http://schemas.openxmlformats.org/officeDocument/2006/relationships/image" Target="../media/image20.png"/><Relationship Id="rId10" Type="http://schemas.openxmlformats.org/officeDocument/2006/relationships/tags" Target="../tags/tag15.xml"/><Relationship Id="rId19" Type="http://schemas.openxmlformats.org/officeDocument/2006/relationships/image" Target="../media/image11.svg"/><Relationship Id="rId31" Type="http://schemas.openxmlformats.org/officeDocument/2006/relationships/image" Target="../media/image23.sv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6.png"/><Relationship Id="rId22" Type="http://schemas.openxmlformats.org/officeDocument/2006/relationships/image" Target="../media/image14.png"/><Relationship Id="rId27" Type="http://schemas.openxmlformats.org/officeDocument/2006/relationships/image" Target="../media/image19.svg"/><Relationship Id="rId30" Type="http://schemas.openxmlformats.org/officeDocument/2006/relationships/image" Target="../media/image2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jp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hyperlink" Target="https://www.uni-augsburg.de/en/portal/internationals/abschluss/study-preparation-course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hyperlink" Target="https://www.uni-augsburg.de/de/portal/internationals/abschluss/svk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dplatzhalter 21">
            <a:extLst>
              <a:ext uri="{FF2B5EF4-FFF2-40B4-BE49-F238E27FC236}">
                <a16:creationId xmlns:a16="http://schemas.microsoft.com/office/drawing/2014/main" id="{8E9AA76E-8ADD-6D4A-91B2-4B2D0F33372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30" name="Titel 29">
            <a:extLst>
              <a:ext uri="{FF2B5EF4-FFF2-40B4-BE49-F238E27FC236}">
                <a16:creationId xmlns:a16="http://schemas.microsoft.com/office/drawing/2014/main" id="{ED093444-DE53-4E37-8555-A53A8282CB8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Bewerbungen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Logo_Basis_neg.">
            <a:extLst>
              <a:ext uri="{FF2B5EF4-FFF2-40B4-BE49-F238E27FC236}">
                <a16:creationId xmlns:a16="http://schemas.microsoft.com/office/drawing/2014/main" id="{7D80C419-C297-436A-A6B3-A4816AB10A2D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6" name="Logo_FAI_neg." hidden="1">
            <a:extLst>
              <a:ext uri="{FF2B5EF4-FFF2-40B4-BE49-F238E27FC236}">
                <a16:creationId xmlns:a16="http://schemas.microsoft.com/office/drawing/2014/main" id="{6FF63114-56C5-42BD-A30E-4A8A041D963B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8" name="Logo_JUF_neg." hidden="1">
            <a:extLst>
              <a:ext uri="{FF2B5EF4-FFF2-40B4-BE49-F238E27FC236}">
                <a16:creationId xmlns:a16="http://schemas.microsoft.com/office/drawing/2014/main" id="{12D01AA4-A110-4EED-BDC2-48CD85A18965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0" name="Logo_KTF_neg." hidden="1">
            <a:extLst>
              <a:ext uri="{FF2B5EF4-FFF2-40B4-BE49-F238E27FC236}">
                <a16:creationId xmlns:a16="http://schemas.microsoft.com/office/drawing/2014/main" id="{C236EC7F-8ECB-417A-8C4D-1249D14DDA21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2" name="Logo_MEF_neg." hidden="1">
            <a:extLst>
              <a:ext uri="{FF2B5EF4-FFF2-40B4-BE49-F238E27FC236}">
                <a16:creationId xmlns:a16="http://schemas.microsoft.com/office/drawing/2014/main" id="{8E1EEB64-B530-4DC3-9522-19F88C657C62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4" name="Logo_MNTF_neg." hidden="1">
            <a:extLst>
              <a:ext uri="{FF2B5EF4-FFF2-40B4-BE49-F238E27FC236}">
                <a16:creationId xmlns:a16="http://schemas.microsoft.com/office/drawing/2014/main" id="{B6B5FE23-7140-4471-AB48-4BE26E31E0D9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PHF_neg." hidden="1">
            <a:extLst>
              <a:ext uri="{FF2B5EF4-FFF2-40B4-BE49-F238E27FC236}">
                <a16:creationId xmlns:a16="http://schemas.microsoft.com/office/drawing/2014/main" id="{A4780CB1-6931-49F3-9616-C13A7B14B653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PSF_neg." hidden="1">
            <a:extLst>
              <a:ext uri="{FF2B5EF4-FFF2-40B4-BE49-F238E27FC236}">
                <a16:creationId xmlns:a16="http://schemas.microsoft.com/office/drawing/2014/main" id="{FDDB11E7-6BF4-4E4A-BC05-ED11864FC682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WWF_neg." hidden="1">
            <a:extLst>
              <a:ext uri="{FF2B5EF4-FFF2-40B4-BE49-F238E27FC236}">
                <a16:creationId xmlns:a16="http://schemas.microsoft.com/office/drawing/2014/main" id="{5EA5973E-3F3A-451F-A766-CB39013D77D4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5655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Anschreiben – Klassische </a:t>
            </a:r>
            <a:r>
              <a:rPr lang="de-DE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hler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370244" y="1516194"/>
            <a:ext cx="9559013" cy="5058777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Verwendung von Floskeln wie …</a:t>
            </a:r>
          </a:p>
          <a:p>
            <a:pPr lvl="2" algn="l">
              <a:lnSpc>
                <a:spcPct val="150000"/>
              </a:lnSpc>
            </a:pPr>
            <a:r>
              <a:rPr lang="de-DE" spc="-55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„Hiermit bewerbe ich mich…“</a:t>
            </a:r>
          </a:p>
          <a:p>
            <a:pPr lvl="2" algn="l">
              <a:lnSpc>
                <a:spcPct val="150000"/>
              </a:lnSpc>
            </a:pPr>
            <a:r>
              <a:rPr lang="de-DE" spc="-55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„…habe mit großem Interesse von der Stelle erfahren“</a:t>
            </a:r>
          </a:p>
          <a:p>
            <a:pPr lvl="2" algn="l">
              <a:lnSpc>
                <a:spcPct val="150000"/>
              </a:lnSpc>
            </a:pPr>
            <a:r>
              <a:rPr lang="de-DE" spc="-55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„Die Erfahrungen aus meinen Praktika verleihen mir große Teamfähigkeit und…“</a:t>
            </a:r>
          </a:p>
          <a:p>
            <a:pPr lvl="2" algn="l">
              <a:lnSpc>
                <a:spcPct val="150000"/>
              </a:lnSpc>
            </a:pP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zu lang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Wiederholung des Lebenslauf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Anschreiben inhaltlich nicht passend auf die Ausschreibung</a:t>
            </a:r>
          </a:p>
          <a:p>
            <a:pPr>
              <a:lnSpc>
                <a:spcPct val="150000"/>
              </a:lnSpc>
            </a:pP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84149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3150" y="0"/>
            <a:ext cx="10753200" cy="1017917"/>
          </a:xfrm>
        </p:spPr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Anschreiben für Stipendien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370244" y="1516194"/>
            <a:ext cx="9559013" cy="505877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z</a:t>
            </a:r>
            <a:r>
              <a:rPr lang="de-DE" sz="2000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usätzlich zu den üblichen Informationen brauchen Sie hier:</a:t>
            </a:r>
          </a:p>
          <a:p>
            <a:pPr>
              <a:lnSpc>
                <a:spcPct val="150000"/>
              </a:lnSpc>
            </a:pPr>
            <a:endParaRPr lang="de-DE" sz="2000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Informationen zur finanziellen Situatio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sz="2000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Angaben zu Einkommensverhältnisse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ggf. Verdienstbescheinigungen (eigene, der Eltern oder des Ehepartners/ der Ehepartnerin)</a:t>
            </a:r>
            <a:endParaRPr lang="de-DE" sz="2000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483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3150" y="0"/>
            <a:ext cx="10753200" cy="1017917"/>
          </a:xfrm>
        </p:spPr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Der Lebenslauf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370244" y="1516194"/>
            <a:ext cx="9559013" cy="5058777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Relevanz: alles in Ihrem Lebenslauf sollte zur Stelle passen und dafür relevant sei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sz="2000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Länge: maxim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al zwei Seite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w</a:t>
            </a:r>
            <a:r>
              <a:rPr lang="de-DE" sz="2000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enn Bild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, dann</a:t>
            </a:r>
            <a:r>
              <a:rPr lang="de-DE" sz="2000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professionelles Bild (meist oben rechts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Gliederung:</a:t>
            </a:r>
          </a:p>
          <a:p>
            <a:pPr>
              <a:lnSpc>
                <a:spcPct val="150000"/>
              </a:lnSpc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	umgekehrt chronologisch geordnet</a:t>
            </a:r>
          </a:p>
          <a:p>
            <a:pPr>
              <a:lnSpc>
                <a:spcPct val="150000"/>
              </a:lnSpc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	Daten (Monat und Jahr) stehen link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Details: kleine Dinge sind wichtig: 2021</a:t>
            </a:r>
            <a:r>
              <a:rPr lang="de-DE" b="1" spc="-5" dirty="0"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22 / 2022 </a:t>
            </a:r>
            <a:r>
              <a:rPr lang="de-DE" b="1" spc="-5" dirty="0"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2023 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sz="2000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Datum und Unterschrift nicht vergessen</a:t>
            </a:r>
          </a:p>
          <a:p>
            <a:pPr>
              <a:lnSpc>
                <a:spcPct val="150000"/>
              </a:lnSpc>
            </a:pP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de-DE" sz="2000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Auf </a:t>
            </a:r>
            <a:r>
              <a:rPr lang="de-DE" sz="2000" b="1" spc="-5" dirty="0"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Einheitlichkeit</a:t>
            </a:r>
            <a:r>
              <a:rPr lang="de-DE" sz="2000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(alles sieht gleich aus) und </a:t>
            </a:r>
            <a:r>
              <a:rPr lang="de-DE" sz="2000" b="1" spc="-5" dirty="0"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Vollständigkeit</a:t>
            </a:r>
            <a:r>
              <a:rPr lang="de-DE" sz="2000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(alle wichtigen Infos) achten!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23989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Lebenslauf - Beispiel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D33B724-D3E3-55E3-C9F6-A183845A8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473" y="1481951"/>
            <a:ext cx="3206880" cy="453493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9A34C92-2666-9056-7A09-64472EA6E1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99366" y="1481951"/>
            <a:ext cx="3205653" cy="453493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3BFE7E1-9036-5F44-B037-0D3C0C7150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9806" y="1649627"/>
            <a:ext cx="2515014" cy="3558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2252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Lebenslauf - Unterpunkte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50DCDF5-77DA-6746-A16E-68601FC5711F}"/>
              </a:ext>
            </a:extLst>
          </p:cNvPr>
          <p:cNvSpPr txBox="1"/>
          <p:nvPr/>
        </p:nvSpPr>
        <p:spPr>
          <a:xfrm>
            <a:off x="879660" y="1394274"/>
            <a:ext cx="1011854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Persönliche Angaben/ Persönliches/ Persönliche Daten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Schulische Laufbahn/ Schulbildung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Studium/ Hochschulausbildung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Berufliche Erfahrung / Berufspraktische Erfahrungen / Praktische Erfahrungen / Arbeitserfahrung / Beruflicher Werdegang etc.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Praktika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Studienbegleitende Tätigkeiten (u.a. Minijobs)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Zusätzliche Qualifikationen (z.B. Soziales/ 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universitäres Engagement, EDV-Kenntnisse)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Sprachkenntnisse / Fremdsprachen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IT-Kenntnisse / EDV-Kenntnisse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Persönliche Interessen/ Hobbys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Ehrenamtliches Engagement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Besonderheiten (z.B. Stipendien, Mitgliedschaften etc.)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Militärdienst / Zivildienst (sollte immer eine eigene Kategorie sein)</a:t>
            </a:r>
            <a:br>
              <a:rPr lang="de-DE" dirty="0"/>
            </a:b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36814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Bewerbungsfoto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de-DE" altLang="de-DE" dirty="0">
                <a:solidFill>
                  <a:schemeClr val="tx1"/>
                </a:solidFill>
              </a:rPr>
              <a:t>Tipps für das Bewerbungsfoto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endParaRPr lang="de-DE" altLang="de-DE" sz="2000" dirty="0">
              <a:solidFill>
                <a:schemeClr val="tx1"/>
              </a:solidFill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e-DE" altLang="de-DE" dirty="0">
                <a:solidFill>
                  <a:schemeClr val="tx1"/>
                </a:solidFill>
              </a:rPr>
              <a:t>p</a:t>
            </a:r>
            <a:r>
              <a:rPr lang="de-DE" altLang="de-DE" sz="2000" dirty="0">
                <a:solidFill>
                  <a:schemeClr val="tx1"/>
                </a:solidFill>
              </a:rPr>
              <a:t>rofessionelles Bild verwenden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passende, bra</a:t>
            </a:r>
            <a:r>
              <a:rPr lang="de-DE" altLang="de-DE" dirty="0">
                <a:solidFill>
                  <a:schemeClr val="tx1"/>
                </a:solidFill>
              </a:rPr>
              <a:t>nchenübliche Kleidung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e-DE" altLang="de-DE" dirty="0">
                <a:solidFill>
                  <a:schemeClr val="tx1"/>
                </a:solidFill>
              </a:rPr>
              <a:t>n</a:t>
            </a:r>
            <a:r>
              <a:rPr lang="de-DE" altLang="de-DE" sz="2000" dirty="0">
                <a:solidFill>
                  <a:schemeClr val="tx1"/>
                </a:solidFill>
              </a:rPr>
              <a:t>eutraler Hintergrund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e-DE" altLang="de-DE" dirty="0">
                <a:solidFill>
                  <a:schemeClr val="tx1"/>
                </a:solidFill>
              </a:rPr>
              <a:t>Größe: zwischen 6x4cm und 9x6cm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Ihr Blick sollte zur Mitte des Blattes hin zeigen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lang="de-DE" altLang="de-DE" dirty="0">
              <a:solidFill>
                <a:schemeClr val="tx1"/>
              </a:solidFill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Richtlinie: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lang="de-DE" altLang="de-DE" dirty="0">
                <a:solidFill>
                  <a:schemeClr val="tx1"/>
                </a:solidFill>
              </a:rPr>
              <a:t>Je wichtiger die ausgeschriebene Position, desto wichtiger ein Lebenslauf mit Bild.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Ein Lebenslauf mit Bild ist auch wichtiger in Unternehmen als z.B. im öffentlichen Dienst.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br>
              <a:rPr lang="de-DE" altLang="de-DE" sz="2000" dirty="0">
                <a:solidFill>
                  <a:schemeClr val="tx1"/>
                </a:solidFill>
              </a:rPr>
            </a:b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08D3EAA0-9D1D-C22F-C5AE-9760A834D8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97494" y="580578"/>
            <a:ext cx="2975106" cy="1981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2217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Zeugnisse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11040209" cy="4990484"/>
          </a:xfrm>
        </p:spPr>
        <p:txBody>
          <a:bodyPr/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Alle Punkte, die im Lebenslauf erwähnt werden, müssen mit einem Zeugnis/ einer Bestätigung nachgewiesen  werden, damit die Bewerbungsunterlagen als „vollständig“ gelten.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Das Arbeitszeugnis ist eine schriftliche Urkunde des Arbeitgebers über Dauer, Inhalt und den Verlauf des Arbeitsverhältnisses. 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lang="de-DE" altLang="de-DE" sz="2000" dirty="0">
              <a:solidFill>
                <a:schemeClr val="tx1"/>
              </a:solidFill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(Arbeits-)Zeugnisse und/oder Bestätigungen (im engeren Sinne für alle im Lebenslauf genannten Stationen)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Abitur-Zeugnis/ Sekundarschulzeugnis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Hochschulzeugnis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Leistungsbestätigung (z.B. Studis-Auszug)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Praktika/ Nebenjobs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Fortbildungen (EDV-Kurse, etc.)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Teilnahmebestätigungen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Sprachnachweise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Weiterbildungen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…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endParaRPr lang="de-DE" altLang="de-DE" sz="2000" dirty="0">
              <a:solidFill>
                <a:schemeClr val="tx1"/>
              </a:solidFill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lang="de-DE" altLang="de-DE" sz="2000" dirty="0">
              <a:solidFill>
                <a:schemeClr val="tx1"/>
              </a:solidFill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br>
              <a:rPr lang="de-DE" altLang="de-DE" sz="2000" dirty="0">
                <a:solidFill>
                  <a:schemeClr val="tx1"/>
                </a:solidFill>
              </a:rPr>
            </a:b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4F6D9FE-CE7C-0250-93E8-F5285B390C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0211" y="5562785"/>
            <a:ext cx="1682642" cy="1121761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7BEDFB0A-A359-698C-7041-EDBA908FEA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36313" y="3429000"/>
            <a:ext cx="2292295" cy="3255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4544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1926145" cy="6858000"/>
          </a:xfrm>
          <a:custGeom>
            <a:avLst/>
            <a:gdLst/>
            <a:ahLst/>
            <a:cxnLst/>
            <a:rect l="l" t="t" r="r" b="b"/>
            <a:pathLst>
              <a:path w="17889217" h="10062684">
                <a:moveTo>
                  <a:pt x="0" y="0"/>
                </a:moveTo>
                <a:lnTo>
                  <a:pt x="17889217" y="0"/>
                </a:lnTo>
                <a:lnTo>
                  <a:pt x="17889217" y="10062684"/>
                </a:lnTo>
                <a:lnTo>
                  <a:pt x="0" y="1006268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de-DE" sz="1200"/>
          </a:p>
        </p:txBody>
      </p:sp>
      <p:sp>
        <p:nvSpPr>
          <p:cNvPr id="3" name="TextBox 3"/>
          <p:cNvSpPr txBox="1"/>
          <p:nvPr/>
        </p:nvSpPr>
        <p:spPr>
          <a:xfrm>
            <a:off x="685800" y="3033576"/>
            <a:ext cx="10820400" cy="18494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2613"/>
              </a:lnSpc>
              <a:spcBef>
                <a:spcPct val="0"/>
              </a:spcBef>
            </a:pPr>
            <a:endParaRPr sz="1200" dirty="0"/>
          </a:p>
          <a:p>
            <a:pPr algn="just">
              <a:lnSpc>
                <a:spcPts val="3033"/>
              </a:lnSpc>
              <a:spcBef>
                <a:spcPct val="0"/>
              </a:spcBef>
            </a:pPr>
            <a:r>
              <a:rPr lang="en-US" sz="2166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Diese</a:t>
            </a:r>
            <a:r>
              <a:rPr lang="en-US" sz="2166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2166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Präsentation</a:t>
            </a:r>
            <a:r>
              <a:rPr lang="en-US" sz="2166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2166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ist</a:t>
            </a:r>
            <a:r>
              <a:rPr lang="en-US" sz="2166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die </a:t>
            </a:r>
            <a:r>
              <a:rPr lang="en-US" sz="2166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siebte</a:t>
            </a:r>
            <a:r>
              <a:rPr lang="en-US" sz="2166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von </a:t>
            </a:r>
            <a:r>
              <a:rPr lang="en-US" sz="2166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insgesamt</a:t>
            </a:r>
            <a:r>
              <a:rPr lang="en-US" sz="2166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2166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sieben</a:t>
            </a:r>
            <a:r>
              <a:rPr lang="en-US" sz="2166" dirty="0">
                <a:solidFill>
                  <a:srgbClr val="A3017C"/>
                </a:solidFill>
                <a:latin typeface="Canva Sans"/>
                <a:ea typeface="Canva Sans"/>
                <a:cs typeface="Canva Sans"/>
                <a:sym typeface="Canva Sans"/>
              </a:rPr>
              <a:t>.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Wir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empfehlen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, alle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Präsentationen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sorgfältig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durchzusehen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, um gut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vorbereitet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in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Ihr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Studium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zu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starten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und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wichtige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Fragen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zu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klären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: </a:t>
            </a:r>
          </a:p>
          <a:p>
            <a:pPr algn="just">
              <a:lnSpc>
                <a:spcPts val="3033"/>
              </a:lnSpc>
              <a:spcBef>
                <a:spcPct val="0"/>
              </a:spcBef>
            </a:pPr>
            <a:r>
              <a:rPr lang="en-US" sz="2166" u="sng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  <a:hlinkClick r:id="rId4" tooltip="https://www.uni-augsburg.de/en/portal/internationals/abschluss/study-preparation-course/"/>
              </a:rPr>
              <a:t>https://www.uni-augsburg.de/de/portal/internationals/abschluss/svk/.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</a:p>
        </p:txBody>
      </p:sp>
      <p:sp>
        <p:nvSpPr>
          <p:cNvPr id="4" name="Freeform 4"/>
          <p:cNvSpPr/>
          <p:nvPr/>
        </p:nvSpPr>
        <p:spPr>
          <a:xfrm>
            <a:off x="10060948" y="1334515"/>
            <a:ext cx="1557739" cy="1518087"/>
          </a:xfrm>
          <a:custGeom>
            <a:avLst/>
            <a:gdLst/>
            <a:ahLst/>
            <a:cxnLst/>
            <a:rect l="l" t="t" r="r" b="b"/>
            <a:pathLst>
              <a:path w="2336608" h="2277131">
                <a:moveTo>
                  <a:pt x="0" y="0"/>
                </a:moveTo>
                <a:lnTo>
                  <a:pt x="2336608" y="0"/>
                </a:lnTo>
                <a:lnTo>
                  <a:pt x="2336608" y="2277131"/>
                </a:lnTo>
                <a:lnTo>
                  <a:pt x="0" y="2277131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 sz="1200"/>
          </a:p>
        </p:txBody>
      </p:sp>
      <p:sp>
        <p:nvSpPr>
          <p:cNvPr id="5" name="TextBox 5"/>
          <p:cNvSpPr txBox="1"/>
          <p:nvPr/>
        </p:nvSpPr>
        <p:spPr>
          <a:xfrm>
            <a:off x="411893" y="392218"/>
            <a:ext cx="2940908" cy="52924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386"/>
              </a:lnSpc>
              <a:spcBef>
                <a:spcPct val="0"/>
              </a:spcBef>
            </a:pPr>
            <a:r>
              <a:rPr lang="en-US" sz="31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Noch </a:t>
            </a:r>
            <a:r>
              <a:rPr lang="en-US" sz="31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Fragen</a:t>
            </a:r>
            <a:r>
              <a:rPr lang="en-US" sz="31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?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685800" y="1314618"/>
            <a:ext cx="8800755" cy="15059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3032"/>
              </a:lnSpc>
              <a:spcBef>
                <a:spcPct val="0"/>
              </a:spcBef>
            </a:pP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Das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Akademische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Auslandsamt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der Universität Augsburg hat für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internationale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Erstsemester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eine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Präsentationsreihe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mit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den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wichtigsten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Informationen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rund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um das Studium und Leben in Augsburg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zusammengestellt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. 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685800" y="5073832"/>
            <a:ext cx="10820400" cy="15059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3033"/>
              </a:lnSpc>
            </a:pPr>
            <a:endParaRPr sz="1200"/>
          </a:p>
          <a:p>
            <a:pPr algn="just">
              <a:lnSpc>
                <a:spcPts val="3033"/>
              </a:lnSpc>
              <a:spcBef>
                <a:spcPct val="0"/>
              </a:spcBef>
            </a:pPr>
            <a:r>
              <a:rPr lang="en-US" sz="2166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Sollten nach der Sichtung aller Präsentationen weiterhin Fragen offen sein, schreiben Sie uns gerne eine E-Mail an: svk@aaa.uni-augsburg.de.</a:t>
            </a:r>
          </a:p>
          <a:p>
            <a:pPr algn="just">
              <a:lnSpc>
                <a:spcPts val="3033"/>
              </a:lnSpc>
              <a:spcBef>
                <a:spcPct val="0"/>
              </a:spcBef>
            </a:pPr>
            <a:endParaRPr lang="en-US" sz="2166">
              <a:solidFill>
                <a:srgbClr val="000000"/>
              </a:solidFill>
              <a:latin typeface="Canva Sans"/>
              <a:ea typeface="Canva Sans"/>
              <a:cs typeface="Canva Sans"/>
              <a:sym typeface="Canva San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1926145" cy="6858000"/>
          </a:xfrm>
          <a:custGeom>
            <a:avLst/>
            <a:gdLst/>
            <a:ahLst/>
            <a:cxnLst/>
            <a:rect l="l" t="t" r="r" b="b"/>
            <a:pathLst>
              <a:path w="17889217" h="10062684">
                <a:moveTo>
                  <a:pt x="0" y="0"/>
                </a:moveTo>
                <a:lnTo>
                  <a:pt x="17889217" y="0"/>
                </a:lnTo>
                <a:lnTo>
                  <a:pt x="17889217" y="10062684"/>
                </a:lnTo>
                <a:lnTo>
                  <a:pt x="0" y="1006268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de-DE" sz="1200"/>
          </a:p>
        </p:txBody>
      </p:sp>
      <p:sp>
        <p:nvSpPr>
          <p:cNvPr id="3" name="TextBox 3"/>
          <p:cNvSpPr txBox="1"/>
          <p:nvPr/>
        </p:nvSpPr>
        <p:spPr>
          <a:xfrm>
            <a:off x="685800" y="2839055"/>
            <a:ext cx="11123023" cy="31180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800"/>
              </a:lnSpc>
              <a:spcBef>
                <a:spcPct val="0"/>
              </a:spcBef>
            </a:pPr>
            <a:endParaRPr sz="1200" dirty="0"/>
          </a:p>
          <a:p>
            <a:pPr algn="just">
              <a:lnSpc>
                <a:spcPts val="3127"/>
              </a:lnSpc>
              <a:spcBef>
                <a:spcPct val="0"/>
              </a:spcBef>
            </a:pPr>
            <a:r>
              <a:rPr lang="en-US" sz="22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Diese</a:t>
            </a:r>
            <a:r>
              <a:rPr lang="en-US" sz="22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22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Präsentation</a:t>
            </a:r>
            <a:r>
              <a:rPr lang="en-US" sz="22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22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ist</a:t>
            </a:r>
            <a:r>
              <a:rPr lang="en-US" sz="22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die </a:t>
            </a:r>
            <a:r>
              <a:rPr lang="en-US" sz="22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siebte</a:t>
            </a:r>
            <a:r>
              <a:rPr lang="en-US" sz="22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von </a:t>
            </a:r>
            <a:r>
              <a:rPr lang="en-US" sz="22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insgesamt</a:t>
            </a:r>
            <a:r>
              <a:rPr lang="en-US" sz="22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22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sieben</a:t>
            </a:r>
            <a:r>
              <a:rPr lang="en-US" sz="2233" dirty="0">
                <a:solidFill>
                  <a:srgbClr val="A3017C"/>
                </a:solidFill>
                <a:latin typeface="Canva Sans"/>
                <a:ea typeface="Canva Sans"/>
                <a:cs typeface="Canva Sans"/>
                <a:sym typeface="Canva Sans"/>
              </a:rPr>
              <a:t>.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Sie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beschäftigt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sich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mit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dem </a:t>
            </a:r>
            <a:r>
              <a:rPr lang="en-US" sz="22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Bewerbungsablauf</a:t>
            </a:r>
            <a:r>
              <a:rPr lang="en-US" sz="22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in Deutschland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. Wir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empfehl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, alle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Präsentation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sorgfältig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durchzuseh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, um gut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vorbereitet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in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Ihr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Studium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zu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start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und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wichtige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Frag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zu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klär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.</a:t>
            </a:r>
          </a:p>
          <a:p>
            <a:pPr algn="just">
              <a:lnSpc>
                <a:spcPts val="3127"/>
              </a:lnSpc>
              <a:spcBef>
                <a:spcPct val="0"/>
              </a:spcBef>
            </a:pPr>
            <a:endParaRPr lang="en-US" sz="2233" dirty="0">
              <a:solidFill>
                <a:srgbClr val="000000"/>
              </a:solidFill>
              <a:latin typeface="Canva Sans"/>
              <a:ea typeface="Canva Sans"/>
              <a:cs typeface="Canva Sans"/>
              <a:sym typeface="Canva Sans"/>
            </a:endParaRPr>
          </a:p>
          <a:p>
            <a:pPr algn="just">
              <a:lnSpc>
                <a:spcPts val="3127"/>
              </a:lnSpc>
              <a:spcBef>
                <a:spcPct val="0"/>
              </a:spcBef>
            </a:pP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Alle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Präsentation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sind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online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verfügbar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und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könn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unter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folgendem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Link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heruntergelad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werd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: </a:t>
            </a:r>
          </a:p>
          <a:p>
            <a:pPr algn="just">
              <a:lnSpc>
                <a:spcPts val="3127"/>
              </a:lnSpc>
              <a:spcBef>
                <a:spcPct val="0"/>
              </a:spcBef>
            </a:pPr>
            <a:r>
              <a:rPr lang="en-US" sz="2233" u="sng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  <a:hlinkClick r:id="rId4" tooltip="https://www.uni-augsburg.de/de/portal/internationals/abschluss/svk/"/>
              </a:rPr>
              <a:t>https://www.uni-augsburg.de/de/portal/internationals/abschluss/svk/</a:t>
            </a:r>
          </a:p>
        </p:txBody>
      </p:sp>
      <p:sp>
        <p:nvSpPr>
          <p:cNvPr id="4" name="Freeform 4"/>
          <p:cNvSpPr/>
          <p:nvPr/>
        </p:nvSpPr>
        <p:spPr>
          <a:xfrm>
            <a:off x="9842763" y="1359068"/>
            <a:ext cx="1557739" cy="1518087"/>
          </a:xfrm>
          <a:custGeom>
            <a:avLst/>
            <a:gdLst/>
            <a:ahLst/>
            <a:cxnLst/>
            <a:rect l="l" t="t" r="r" b="b"/>
            <a:pathLst>
              <a:path w="2336608" h="2277131">
                <a:moveTo>
                  <a:pt x="0" y="0"/>
                </a:moveTo>
                <a:lnTo>
                  <a:pt x="2336608" y="0"/>
                </a:lnTo>
                <a:lnTo>
                  <a:pt x="2336608" y="2277131"/>
                </a:lnTo>
                <a:lnTo>
                  <a:pt x="0" y="2277131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 sz="1200"/>
          </a:p>
        </p:txBody>
      </p:sp>
      <p:sp>
        <p:nvSpPr>
          <p:cNvPr id="5" name="TextBox 5"/>
          <p:cNvSpPr txBox="1"/>
          <p:nvPr/>
        </p:nvSpPr>
        <p:spPr>
          <a:xfrm>
            <a:off x="265855" y="399995"/>
            <a:ext cx="8027913" cy="52924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386"/>
              </a:lnSpc>
              <a:spcBef>
                <a:spcPct val="0"/>
              </a:spcBef>
            </a:pPr>
            <a:r>
              <a:rPr lang="en-US" sz="31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Wichtige</a:t>
            </a:r>
            <a:r>
              <a:rPr lang="en-US" sz="31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31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Informationen</a:t>
            </a:r>
            <a:r>
              <a:rPr lang="en-US" sz="31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31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zum</a:t>
            </a:r>
            <a:r>
              <a:rPr lang="en-US" sz="31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31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Studienbeginn</a:t>
            </a:r>
            <a:endParaRPr lang="en-US" sz="3133" b="1" dirty="0">
              <a:solidFill>
                <a:srgbClr val="A3017C"/>
              </a:solidFill>
              <a:latin typeface="Canva Sans Bold"/>
              <a:ea typeface="Canva Sans Bold"/>
              <a:cs typeface="Canva Sans Bold"/>
              <a:sym typeface="Canva Sans Bold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685800" y="1314617"/>
            <a:ext cx="8504849" cy="155593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3125"/>
              </a:lnSpc>
              <a:spcBef>
                <a:spcPct val="0"/>
              </a:spcBef>
            </a:pP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Das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Akademische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Auslandsamt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der Universität Augsburg hat für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internationale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Erstsemester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eine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Präsentationsreihe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mit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den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wichtigst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Information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rund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um das Studium und Leben in Augsburg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zusammengestellt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. 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Bewerben in Deutschland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172246" y="1516194"/>
            <a:ext cx="7797583" cy="3825611"/>
          </a:xfrm>
        </p:spPr>
        <p:txBody>
          <a:bodyPr/>
          <a:lstStyle/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DBE8E4E-6311-CA6F-2D94-10B2B0794A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9883" y="1363219"/>
            <a:ext cx="6876884" cy="479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2066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Ausschreibungen - Aufbau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005443" y="1267055"/>
            <a:ext cx="7971754" cy="4984199"/>
          </a:xfrm>
        </p:spPr>
        <p:txBody>
          <a:bodyPr/>
          <a:lstStyle/>
          <a:p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enthalten Informationen zu:</a:t>
            </a:r>
          </a:p>
          <a:p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Institution 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Was ist das für ein Arbeit- / Stipendiengeber?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Aufgabe  Was ist zu tun?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Anforderungen/ Voraussetzungen 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Wer wird gesucht?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Bedingungen  Wie viele Stunden? Für wie lange? Wie viel Geld?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Art der Bewerbung  (Welche) Unterlagen? In welcher Form (Portal, digital…)?</a:t>
            </a:r>
          </a:p>
          <a:p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Bewerbungsschluss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Kontakt  wichtig für spätere Anrede</a:t>
            </a:r>
          </a:p>
          <a:p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17040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Diese Dokumente gehören in eine Bewerbung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039320" y="1382115"/>
            <a:ext cx="7634418" cy="3825611"/>
          </a:xfrm>
        </p:spPr>
        <p:txBody>
          <a:bodyPr/>
          <a:lstStyle/>
          <a:p>
            <a:pPr>
              <a:lnSpc>
                <a:spcPct val="150000"/>
              </a:lnSpc>
            </a:pPr>
            <a:endParaRPr lang="de-DE" sz="1800" u="heavy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639399C-DB26-2379-09E5-127F9B7FE3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3906" y="2187511"/>
            <a:ext cx="7544188" cy="2482978"/>
          </a:xfrm>
          <a:prstGeom prst="rect">
            <a:avLst/>
          </a:prstGeom>
        </p:spPr>
      </p:pic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2A16A083-28C5-04A6-9CD9-9E66D1AFD49B}"/>
              </a:ext>
            </a:extLst>
          </p:cNvPr>
          <p:cNvCxnSpPr>
            <a:cxnSpLocks/>
          </p:cNvCxnSpPr>
          <p:nvPr/>
        </p:nvCxnSpPr>
        <p:spPr>
          <a:xfrm flipH="1" flipV="1">
            <a:off x="3649362" y="3978876"/>
            <a:ext cx="288324" cy="3707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75492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Diese Dokumente gehören </a:t>
            </a:r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nicht(!) 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in eine Bewerbung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14008" y="1454331"/>
            <a:ext cx="10987219" cy="4911635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kumimoji="0" lang="de-DE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0" lang="de-DE" alt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E-Mail-Adresse, Telefonnummer oder Schreiben von </a:t>
            </a:r>
            <a:r>
              <a:rPr kumimoji="0" lang="de-DE" alt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Referenzpersonen</a:t>
            </a:r>
            <a:r>
              <a:rPr kumimoji="0" lang="de-DE" alt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 (wenn nicht explizit gewünscht, </a:t>
            </a:r>
            <a:r>
              <a:rPr kumimoji="0" lang="de-DE" altLang="de-D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z.B</a:t>
            </a:r>
            <a:r>
              <a:rPr lang="de-DE" altLang="de-DE" kern="0" dirty="0">
                <a:solidFill>
                  <a:srgbClr val="000000"/>
                </a:solidFill>
                <a:ea typeface="ＭＳ Ｐゴシック"/>
                <a:cs typeface="+mj-cs"/>
              </a:rPr>
              <a:t>. bei Stipendienbewerbungen)</a:t>
            </a: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>
              <a:lnSpc>
                <a:spcPct val="150000"/>
              </a:lnSpc>
            </a:pPr>
            <a:endParaRPr kumimoji="0" lang="de-DE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0" lang="de-DE" alt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Arbeitsverträge</a:t>
            </a:r>
            <a:r>
              <a:rPr kumimoji="0" lang="de-DE" alt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 (wenn kein Zeugnis vorhanden ist, dann bitte nicht stattdessen den Arbeitsvertrag </a:t>
            </a:r>
            <a:r>
              <a:rPr kumimoji="0" lang="de-DE" altLang="de-D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beif</a:t>
            </a:r>
            <a:r>
              <a:rPr lang="de-DE" altLang="de-DE" kern="0" dirty="0" err="1">
                <a:solidFill>
                  <a:srgbClr val="000000"/>
                </a:solidFill>
                <a:ea typeface="ＭＳ Ｐゴシック"/>
                <a:cs typeface="+mj-cs"/>
              </a:rPr>
              <a:t>ügen</a:t>
            </a:r>
            <a:r>
              <a:rPr lang="de-DE" altLang="de-DE" kern="0" dirty="0">
                <a:solidFill>
                  <a:srgbClr val="000000"/>
                </a:solidFill>
                <a:ea typeface="ＭＳ Ｐゴシック"/>
                <a:cs typeface="+mj-cs"/>
              </a:rPr>
              <a:t>!)</a:t>
            </a:r>
          </a:p>
          <a:p>
            <a:pPr>
              <a:lnSpc>
                <a:spcPct val="150000"/>
              </a:lnSpc>
            </a:pPr>
            <a:endParaRPr lang="de-DE" altLang="de-DE" kern="0" dirty="0">
              <a:solidFill>
                <a:srgbClr val="000000"/>
              </a:solidFill>
              <a:ea typeface="ＭＳ Ｐゴシック"/>
              <a:cs typeface="+mj-cs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kumimoji="0" lang="de-DE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kumimoji="0" lang="de-DE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>
              <a:lnSpc>
                <a:spcPct val="150000"/>
              </a:lnSpc>
            </a:pPr>
            <a:endParaRPr lang="de-DE" sz="1800" spc="-55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1800" u="heavy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74344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Das Anschreiben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14008" y="1454331"/>
            <a:ext cx="11114381" cy="491163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altLang="de-DE" dirty="0">
                <a:solidFill>
                  <a:schemeClr val="tx1"/>
                </a:solidFill>
              </a:rPr>
              <a:t>Warum?</a:t>
            </a:r>
            <a:endParaRPr lang="de-DE" altLang="de-DE" i="1" dirty="0">
              <a:solidFill>
                <a:schemeClr val="tx1"/>
              </a:solidFill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tx1"/>
                </a:solidFill>
              </a:rPr>
              <a:t>liefert einen ersten Eindruck zu Ihrer Perso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tx1"/>
                </a:solidFill>
              </a:rPr>
              <a:t>gibt Auskunft darüber, warum Sie zu der Stelle passe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tx1"/>
                </a:solidFill>
              </a:rPr>
              <a:t>geht auf die Anforderungen aus der Ausschreibung ei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tx1"/>
                </a:solidFill>
              </a:rPr>
              <a:t>benennt Stärken und Kenntniss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tx1"/>
                </a:solidFill>
              </a:rPr>
              <a:t>liefert als „Beweis“ dafür Beispiel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de-DE" altLang="de-DE" dirty="0">
              <a:solidFill>
                <a:schemeClr val="tx1"/>
              </a:solidFill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altLang="de-DE" dirty="0">
                <a:solidFill>
                  <a:schemeClr val="tx1"/>
                </a:solidFill>
              </a:rPr>
              <a:t>Soll davon überzeugen, dass Sie </a:t>
            </a:r>
            <a:r>
              <a:rPr lang="de-DE" altLang="de-DE" dirty="0" err="1">
                <a:solidFill>
                  <a:schemeClr val="tx1"/>
                </a:solidFill>
              </a:rPr>
              <a:t>die:der</a:t>
            </a:r>
            <a:r>
              <a:rPr lang="de-DE" altLang="de-DE" dirty="0">
                <a:solidFill>
                  <a:schemeClr val="tx1"/>
                </a:solidFill>
              </a:rPr>
              <a:t> Richtige für diese Stelle sind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de-DE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de-DE" altLang="de-DE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de-DE" altLang="de-DE" i="1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br>
              <a:rPr kumimoji="0" lang="de-DE" altLang="de-DE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rPr>
            </a:br>
            <a:endParaRPr lang="de-DE" spc="-55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1800" spc="-55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1800" u="heavy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0CF39F9A-C745-2C14-42B6-22A95159AE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16778" y="1454331"/>
            <a:ext cx="3220154" cy="4457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6885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Anschreiben – Form und Inhalt 1/2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370244" y="1516194"/>
            <a:ext cx="9559013" cy="505877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800" b="1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Faustregel: nicht länger als eine Seite</a:t>
            </a:r>
          </a:p>
          <a:p>
            <a:pPr>
              <a:lnSpc>
                <a:spcPct val="150000"/>
              </a:lnSpc>
            </a:pP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de-DE" sz="1800" b="1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Kopfteil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	Adresse Absender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	Adresse Empfänger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	Ort und Datum (rechts!)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	Betreff</a:t>
            </a:r>
          </a:p>
          <a:p>
            <a:pPr>
              <a:lnSpc>
                <a:spcPct val="150000"/>
              </a:lnSpc>
            </a:pPr>
            <a:r>
              <a:rPr lang="de-DE" sz="1800" b="1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Einleitung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	Anrede (möglichst persönlich 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z.B.: Sehr geehrte Frau Dr. Süß)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kurze(!) Information zur Person 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möglichst gleich Einleitung mit dem stärksten Argument, das für Sie spricht</a:t>
            </a:r>
          </a:p>
          <a:p>
            <a:pPr>
              <a:lnSpc>
                <a:spcPct val="150000"/>
              </a:lnSpc>
            </a:pP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22413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Anschreiben – Form und Inhalt 2/2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370244" y="1516194"/>
            <a:ext cx="9559013" cy="505877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800" b="1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Hauptteil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konkretes Eingehen auf Aufgaben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</a:t>
            </a:r>
            <a:r>
              <a:rPr lang="de-DE" sz="1800" spc="-55" dirty="0"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Wo und wann habe ich das schon mal gemacht?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konkretes Eingehen auf Anforderungen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</a:t>
            </a:r>
            <a:r>
              <a:rPr lang="de-DE" sz="1800" spc="-55" dirty="0"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Wo und wie habe ich diese Fertigkeiten schon erworben?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Zusammenbringen von Ihren Kenntnissen und Fähigkeiten mit dem Anforderungsprofil der Stelle</a:t>
            </a:r>
          </a:p>
          <a:p>
            <a:pPr>
              <a:lnSpc>
                <a:spcPct val="150000"/>
              </a:lnSpc>
            </a:pPr>
            <a:r>
              <a:rPr lang="de-DE" sz="1800" b="1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Schluss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: 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Freude über Gespräch</a:t>
            </a:r>
          </a:p>
          <a:p>
            <a:pPr>
              <a:lnSpc>
                <a:spcPct val="150000"/>
              </a:lnSpc>
            </a:pPr>
            <a:r>
              <a:rPr lang="de-DE" sz="1800" b="1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Unterschrift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handschriftlich, Original (ggf. gescannt)</a:t>
            </a:r>
          </a:p>
          <a:p>
            <a:pPr>
              <a:lnSpc>
                <a:spcPct val="150000"/>
              </a:lnSpc>
            </a:pP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91378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Office">
  <a:themeElements>
    <a:clrScheme name="Einrichtungen, Kommunikation">
      <a:dk1>
        <a:sysClr val="windowText" lastClr="000000"/>
      </a:dk1>
      <a:lt1>
        <a:sysClr val="window" lastClr="FFFFFF"/>
      </a:lt1>
      <a:dk2>
        <a:srgbClr val="AD007C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äsentationsmaster Vorlage WiWi" id="{7E59AA7B-5322-AB46-B792-6D0585BF3429}" vid="{BA5AD586-BAC6-6047-82C3-E239C9A49CE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asentationsmaster_vorlage_serviceeinrichtungen_kommunikation</Template>
  <TotalTime>0</TotalTime>
  <Words>1015</Words>
  <Application>Microsoft Office PowerPoint</Application>
  <PresentationFormat>Breitbild</PresentationFormat>
  <Paragraphs>202</Paragraphs>
  <Slides>17</Slides>
  <Notes>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7" baseType="lpstr">
      <vt:lpstr>ＭＳ Ｐゴシック</vt:lpstr>
      <vt:lpstr>Arial</vt:lpstr>
      <vt:lpstr>Arial MT</vt:lpstr>
      <vt:lpstr>Calibri</vt:lpstr>
      <vt:lpstr>Canva Sans</vt:lpstr>
      <vt:lpstr>Canva Sans Bold</vt:lpstr>
      <vt:lpstr>Segoe UI</vt:lpstr>
      <vt:lpstr>Symbol</vt:lpstr>
      <vt:lpstr>Wingdings</vt:lpstr>
      <vt:lpstr>Office</vt:lpstr>
      <vt:lpstr>Bewerbungen</vt:lpstr>
      <vt:lpstr>PowerPoint-Präsentation</vt:lpstr>
      <vt:lpstr>Bewerben in Deutschland</vt:lpstr>
      <vt:lpstr>Ausschreibungen - Aufbau</vt:lpstr>
      <vt:lpstr>Diese Dokumente gehören in eine Bewerbung</vt:lpstr>
      <vt:lpstr>Diese Dokumente gehören nicht(!) in eine Bewerbung</vt:lpstr>
      <vt:lpstr>Das Anschreiben</vt:lpstr>
      <vt:lpstr>Anschreiben – Form und Inhalt 1/2</vt:lpstr>
      <vt:lpstr>Anschreiben – Form und Inhalt 2/2</vt:lpstr>
      <vt:lpstr>Anschreiben – Klassische Fehler</vt:lpstr>
      <vt:lpstr>Anschreiben für Stipendien</vt:lpstr>
      <vt:lpstr>Der Lebenslauf</vt:lpstr>
      <vt:lpstr>Lebenslauf - Beispiele</vt:lpstr>
      <vt:lpstr>Lebenslauf - Unterpunkte</vt:lpstr>
      <vt:lpstr>Bewerbungsfoto</vt:lpstr>
      <vt:lpstr>Zeugniss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ein- oder mehrzeilig</dc:title>
  <dc:creator>Birgit Reß</dc:creator>
  <cp:lastModifiedBy>Olivia Mannes</cp:lastModifiedBy>
  <cp:revision>127</cp:revision>
  <dcterms:created xsi:type="dcterms:W3CDTF">2021-08-24T14:00:05Z</dcterms:created>
  <dcterms:modified xsi:type="dcterms:W3CDTF">2026-03-24T11:04:15Z</dcterms:modified>
</cp:coreProperties>
</file>